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1" r:id="rId1"/>
    <p:sldMasterId id="2147483687" r:id="rId2"/>
  </p:sldMasterIdLst>
  <p:notesMasterIdLst>
    <p:notesMasterId r:id="rId8"/>
  </p:notesMasterIdLst>
  <p:sldIdLst>
    <p:sldId id="258" r:id="rId3"/>
    <p:sldId id="261" r:id="rId4"/>
    <p:sldId id="259" r:id="rId5"/>
    <p:sldId id="260" r:id="rId6"/>
    <p:sldId id="262" r:id="rId7"/>
  </p:sldIdLst>
  <p:sldSz cx="9144000" cy="5143500" type="screen16x9"/>
  <p:notesSz cx="6735763" cy="9866313"/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A32456D-FF6E-4270-81A4-256704899713}">
          <p14:sldIdLst>
            <p14:sldId id="258"/>
            <p14:sldId id="261"/>
            <p14:sldId id="259"/>
            <p14:sldId id="260"/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76716D-5137-9B6A-F93C-4D9EE60E1A62}" name="raghunathant" initials="RT" userId="raghunathant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 G Sriram-IT-Chola Thamarai-Guindy-CIFCL" initials="AGSICTGC" lastIdx="1" clrIdx="0">
    <p:extLst>
      <p:ext uri="{19B8F6BF-5375-455C-9EA6-DF929625EA0E}">
        <p15:presenceInfo xmlns:p15="http://schemas.microsoft.com/office/powerpoint/2012/main" userId="S::sriramag@chola.murugappa.com::904971f9-58a4-4464-9f94-676efbcbc1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9BC2E6"/>
    <a:srgbClr val="00B0F0"/>
    <a:srgbClr val="0F9ED5"/>
    <a:srgbClr val="243F82"/>
    <a:srgbClr val="94A30F"/>
    <a:srgbClr val="8DC740"/>
    <a:srgbClr val="5396B2"/>
    <a:srgbClr val="0281B8"/>
    <a:srgbClr val="2F7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64"/>
    <p:restoredTop sz="94699"/>
  </p:normalViewPr>
  <p:slideViewPr>
    <p:cSldViewPr snapToGrid="0">
      <p:cViewPr>
        <p:scale>
          <a:sx n="140" d="100"/>
          <a:sy n="140" d="100"/>
        </p:scale>
        <p:origin x="1144" y="144"/>
      </p:cViewPr>
      <p:guideLst>
        <p:guide orient="horz" pos="159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645655-7827-4BCD-9C8D-6D76206697EF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</dgm:pt>
    <dgm:pt modelId="{AC25B001-F586-403A-BB5C-C016C4CD50DB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Job Request</a:t>
          </a:r>
          <a:endParaRPr lang="en-IN" sz="700" dirty="0"/>
        </a:p>
      </dgm:t>
    </dgm:pt>
    <dgm:pt modelId="{76CE337A-6853-4C5D-BDCF-33FCAFB024FF}" type="parTrans" cxnId="{AED2E592-01F8-45EB-9D6F-9181E20613BA}">
      <dgm:prSet/>
      <dgm:spPr/>
      <dgm:t>
        <a:bodyPr/>
        <a:lstStyle/>
        <a:p>
          <a:endParaRPr lang="en-IN" sz="800"/>
        </a:p>
      </dgm:t>
    </dgm:pt>
    <dgm:pt modelId="{3A5E9BD6-70DE-40CA-A9E8-8EEC6BF9D7D0}" type="sibTrans" cxnId="{AED2E592-01F8-45EB-9D6F-9181E20613BA}">
      <dgm:prSet/>
      <dgm:spPr/>
      <dgm:t>
        <a:bodyPr/>
        <a:lstStyle/>
        <a:p>
          <a:endParaRPr lang="en-IN" sz="800"/>
        </a:p>
      </dgm:t>
    </dgm:pt>
    <dgm:pt modelId="{DDB3CBB4-59AC-4CD6-A223-E69F03AFBC26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Job Opening</a:t>
          </a:r>
          <a:endParaRPr lang="en-IN" sz="700" dirty="0"/>
        </a:p>
      </dgm:t>
    </dgm:pt>
    <dgm:pt modelId="{6DF0DF50-6124-4196-AD09-4481E1921F80}" type="parTrans" cxnId="{4A6553A0-07E2-4F6A-92B3-AB8A64A030DB}">
      <dgm:prSet/>
      <dgm:spPr/>
      <dgm:t>
        <a:bodyPr/>
        <a:lstStyle/>
        <a:p>
          <a:endParaRPr lang="en-IN" sz="800"/>
        </a:p>
      </dgm:t>
    </dgm:pt>
    <dgm:pt modelId="{2AE3CDDF-79A4-4B66-A080-046BE3683405}" type="sibTrans" cxnId="{4A6553A0-07E2-4F6A-92B3-AB8A64A030DB}">
      <dgm:prSet/>
      <dgm:spPr/>
      <dgm:t>
        <a:bodyPr/>
        <a:lstStyle/>
        <a:p>
          <a:endParaRPr lang="en-IN" sz="800"/>
        </a:p>
      </dgm:t>
    </dgm:pt>
    <dgm:pt modelId="{EB48BD06-23BC-4486-9C04-772B41295B5B}">
      <dgm:prSet phldrT="[Text]" custT="1"/>
      <dgm:spPr/>
      <dgm:t>
        <a:bodyPr/>
        <a:lstStyle/>
        <a:p>
          <a:endParaRPr lang="en-US" sz="600" dirty="0"/>
        </a:p>
        <a:p>
          <a:r>
            <a:rPr lang="en-US" sz="600" dirty="0"/>
            <a:t>Candidate Creation</a:t>
          </a:r>
          <a:endParaRPr lang="en-IN" sz="600" dirty="0"/>
        </a:p>
      </dgm:t>
    </dgm:pt>
    <dgm:pt modelId="{A429FD28-3E8B-41DA-8548-11319FE99E43}" type="parTrans" cxnId="{E5CDAF88-0AAF-4E12-94F3-40D54CE5E3F1}">
      <dgm:prSet/>
      <dgm:spPr/>
      <dgm:t>
        <a:bodyPr/>
        <a:lstStyle/>
        <a:p>
          <a:endParaRPr lang="en-IN" sz="800"/>
        </a:p>
      </dgm:t>
    </dgm:pt>
    <dgm:pt modelId="{706493BD-D5E8-4EDF-9F9D-71296519E4CA}" type="sibTrans" cxnId="{E5CDAF88-0AAF-4E12-94F3-40D54CE5E3F1}">
      <dgm:prSet/>
      <dgm:spPr/>
      <dgm:t>
        <a:bodyPr/>
        <a:lstStyle/>
        <a:p>
          <a:endParaRPr lang="en-IN" sz="800"/>
        </a:p>
      </dgm:t>
    </dgm:pt>
    <dgm:pt modelId="{24466988-B967-4C27-B5FB-926A4067DEF2}">
      <dgm:prSet phldrT="[Text]" custT="1"/>
      <dgm:spPr/>
      <dgm:t>
        <a:bodyPr/>
        <a:lstStyle/>
        <a:p>
          <a:pPr>
            <a:lnSpc>
              <a:spcPct val="90000"/>
            </a:lnSpc>
          </a:pPr>
          <a:endParaRPr lang="en-US" sz="700" dirty="0"/>
        </a:p>
        <a:p>
          <a:pPr>
            <a:lnSpc>
              <a:spcPct val="100000"/>
            </a:lnSpc>
          </a:pPr>
          <a:r>
            <a:rPr lang="en-US" sz="700" dirty="0"/>
            <a:t>Interview Process</a:t>
          </a:r>
          <a:endParaRPr lang="en-IN" sz="700" dirty="0"/>
        </a:p>
      </dgm:t>
    </dgm:pt>
    <dgm:pt modelId="{D6624743-3555-4DE4-9FAA-91BE700BDEBF}" type="parTrans" cxnId="{3820A788-747F-4B5C-9BCF-15CF42865EC1}">
      <dgm:prSet/>
      <dgm:spPr/>
      <dgm:t>
        <a:bodyPr/>
        <a:lstStyle/>
        <a:p>
          <a:endParaRPr lang="en-IN" sz="800"/>
        </a:p>
      </dgm:t>
    </dgm:pt>
    <dgm:pt modelId="{0929077B-AD3F-4FF1-AE90-6B294D258299}" type="sibTrans" cxnId="{3820A788-747F-4B5C-9BCF-15CF42865EC1}">
      <dgm:prSet/>
      <dgm:spPr/>
      <dgm:t>
        <a:bodyPr/>
        <a:lstStyle/>
        <a:p>
          <a:endParaRPr lang="en-IN" sz="800"/>
        </a:p>
      </dgm:t>
    </dgm:pt>
    <dgm:pt modelId="{5881B6EC-91E9-4D4F-83B9-E1090CCDCAF0}">
      <dgm:prSet phldrT="[Text]" custT="1"/>
      <dgm:spPr/>
      <dgm:t>
        <a:bodyPr/>
        <a:lstStyle/>
        <a:p>
          <a:endParaRPr lang="en-US" sz="600" dirty="0"/>
        </a:p>
        <a:p>
          <a:r>
            <a:rPr lang="en-US" sz="600" dirty="0"/>
            <a:t>Salary Fitment</a:t>
          </a:r>
          <a:endParaRPr lang="en-IN" sz="600" dirty="0"/>
        </a:p>
      </dgm:t>
    </dgm:pt>
    <dgm:pt modelId="{88FD5DA2-C3B4-4F1B-8F9E-E57E048BF3D0}" type="parTrans" cxnId="{9CE1C364-375F-4DBB-A138-17D07B7AEB93}">
      <dgm:prSet/>
      <dgm:spPr/>
      <dgm:t>
        <a:bodyPr/>
        <a:lstStyle/>
        <a:p>
          <a:endParaRPr lang="en-IN" sz="800"/>
        </a:p>
      </dgm:t>
    </dgm:pt>
    <dgm:pt modelId="{57E89B39-C0E0-4D2D-AD12-23124F9F61DB}" type="sibTrans" cxnId="{9CE1C364-375F-4DBB-A138-17D07B7AEB93}">
      <dgm:prSet/>
      <dgm:spPr/>
      <dgm:t>
        <a:bodyPr/>
        <a:lstStyle/>
        <a:p>
          <a:endParaRPr lang="en-IN" sz="800"/>
        </a:p>
      </dgm:t>
    </dgm:pt>
    <dgm:pt modelId="{44B22FC9-3589-4D67-BA2A-A9C9F718D14D}">
      <dgm:prSet phldrT="[Text]" custT="1"/>
      <dgm:spPr/>
      <dgm:t>
        <a:bodyPr/>
        <a:lstStyle/>
        <a:p>
          <a:r>
            <a:rPr lang="en-US" sz="700" dirty="0"/>
            <a:t>Offer Letter</a:t>
          </a:r>
          <a:endParaRPr lang="en-IN" sz="700" dirty="0"/>
        </a:p>
      </dgm:t>
    </dgm:pt>
    <dgm:pt modelId="{CEC13B11-467B-416E-9505-CDB93425CE60}" type="parTrans" cxnId="{B1B2D85F-384A-4865-BB92-341855F0793A}">
      <dgm:prSet/>
      <dgm:spPr/>
      <dgm:t>
        <a:bodyPr/>
        <a:lstStyle/>
        <a:p>
          <a:endParaRPr lang="en-IN" sz="800"/>
        </a:p>
      </dgm:t>
    </dgm:pt>
    <dgm:pt modelId="{7F27950E-BDEC-4A7C-A1C0-A8D4DA8BBC2D}" type="sibTrans" cxnId="{B1B2D85F-384A-4865-BB92-341855F0793A}">
      <dgm:prSet/>
      <dgm:spPr/>
      <dgm:t>
        <a:bodyPr/>
        <a:lstStyle/>
        <a:p>
          <a:endParaRPr lang="en-IN" sz="800"/>
        </a:p>
      </dgm:t>
    </dgm:pt>
    <dgm:pt modelId="{76C574D6-5B00-4C6C-9A6F-B62CA619F1E6}">
      <dgm:prSet phldrT="[Text]" custT="1"/>
      <dgm:spPr/>
      <dgm:t>
        <a:bodyPr/>
        <a:lstStyle/>
        <a:p>
          <a:r>
            <a:rPr lang="en-US" sz="600" dirty="0"/>
            <a:t>Appointment Letter</a:t>
          </a:r>
          <a:endParaRPr lang="en-IN" sz="600" dirty="0"/>
        </a:p>
      </dgm:t>
    </dgm:pt>
    <dgm:pt modelId="{38234C1B-92D6-42B0-A319-7A38B09169EB}" type="parTrans" cxnId="{27A7889A-BC9B-4759-B7CA-9BC1361E8756}">
      <dgm:prSet/>
      <dgm:spPr/>
      <dgm:t>
        <a:bodyPr/>
        <a:lstStyle/>
        <a:p>
          <a:endParaRPr lang="en-IN" sz="800"/>
        </a:p>
      </dgm:t>
    </dgm:pt>
    <dgm:pt modelId="{A82D01D3-2DCD-4FDC-B496-CCB27C3164A1}" type="sibTrans" cxnId="{27A7889A-BC9B-4759-B7CA-9BC1361E8756}">
      <dgm:prSet/>
      <dgm:spPr/>
      <dgm:t>
        <a:bodyPr/>
        <a:lstStyle/>
        <a:p>
          <a:endParaRPr lang="en-IN" sz="800"/>
        </a:p>
      </dgm:t>
    </dgm:pt>
    <dgm:pt modelId="{5C9E15E0-680E-447E-80F6-523FA4447B91}">
      <dgm:prSet phldrT="[Text]" custT="1"/>
      <dgm:spPr/>
      <dgm:t>
        <a:bodyPr/>
        <a:lstStyle/>
        <a:p>
          <a:r>
            <a:rPr lang="en-US" sz="800" dirty="0"/>
            <a:t>Screening</a:t>
          </a:r>
          <a:endParaRPr lang="en-IN" sz="800" dirty="0"/>
        </a:p>
      </dgm:t>
    </dgm:pt>
    <dgm:pt modelId="{9457B91D-397B-4D79-AC03-A914EC2C826E}" type="parTrans" cxnId="{BC576FB4-6DD9-45B7-AD1F-9E8C357850C0}">
      <dgm:prSet/>
      <dgm:spPr/>
      <dgm:t>
        <a:bodyPr/>
        <a:lstStyle/>
        <a:p>
          <a:endParaRPr lang="en-IN" sz="800"/>
        </a:p>
      </dgm:t>
    </dgm:pt>
    <dgm:pt modelId="{BD5333F1-456A-4DB7-8436-764F84354F42}" type="sibTrans" cxnId="{BC576FB4-6DD9-45B7-AD1F-9E8C357850C0}">
      <dgm:prSet/>
      <dgm:spPr/>
      <dgm:t>
        <a:bodyPr/>
        <a:lstStyle/>
        <a:p>
          <a:endParaRPr lang="en-IN" sz="800"/>
        </a:p>
      </dgm:t>
    </dgm:pt>
    <dgm:pt modelId="{0584F6EE-6F59-47DB-A4B7-67BAFCED0906}">
      <dgm:prSet custT="1"/>
      <dgm:spPr/>
      <dgm:t>
        <a:bodyPr/>
        <a:lstStyle/>
        <a:p>
          <a:r>
            <a:rPr lang="en-US" sz="800" dirty="0"/>
            <a:t>MRF Creation by Recruiter</a:t>
          </a:r>
          <a:endParaRPr lang="en-IN" sz="800" dirty="0"/>
        </a:p>
      </dgm:t>
    </dgm:pt>
    <dgm:pt modelId="{2B66B5FE-DB8E-4B3C-A335-DE412F509887}" type="parTrans" cxnId="{284041A9-5A70-4F53-9A34-555F02D99A21}">
      <dgm:prSet/>
      <dgm:spPr/>
      <dgm:t>
        <a:bodyPr/>
        <a:lstStyle/>
        <a:p>
          <a:endParaRPr lang="en-IN" sz="800"/>
        </a:p>
      </dgm:t>
    </dgm:pt>
    <dgm:pt modelId="{5FA27D4A-D277-40FF-BFD5-688353BCC56E}" type="sibTrans" cxnId="{284041A9-5A70-4F53-9A34-555F02D99A21}">
      <dgm:prSet/>
      <dgm:spPr/>
      <dgm:t>
        <a:bodyPr/>
        <a:lstStyle/>
        <a:p>
          <a:endParaRPr lang="en-IN" sz="800"/>
        </a:p>
      </dgm:t>
    </dgm:pt>
    <dgm:pt modelId="{D48E90C1-AEFC-444E-B284-81D8038D4D47}">
      <dgm:prSet custT="1"/>
      <dgm:spPr/>
      <dgm:t>
        <a:bodyPr/>
        <a:lstStyle/>
        <a:p>
          <a:r>
            <a:rPr lang="en-US" sz="800" dirty="0"/>
            <a:t>Approval by ZHR / RHR</a:t>
          </a:r>
          <a:endParaRPr lang="en-IN" sz="800" dirty="0"/>
        </a:p>
      </dgm:t>
    </dgm:pt>
    <dgm:pt modelId="{2756BC17-2906-4F0E-9C01-2900535DB20F}" type="parTrans" cxnId="{63E44C6A-6A23-4368-BCA7-92E86AA24AF4}">
      <dgm:prSet/>
      <dgm:spPr/>
      <dgm:t>
        <a:bodyPr/>
        <a:lstStyle/>
        <a:p>
          <a:endParaRPr lang="en-IN" sz="800"/>
        </a:p>
      </dgm:t>
    </dgm:pt>
    <dgm:pt modelId="{C37859EF-525D-4CF2-8137-E39DAB1DEDFC}" type="sibTrans" cxnId="{63E44C6A-6A23-4368-BCA7-92E86AA24AF4}">
      <dgm:prSet/>
      <dgm:spPr/>
      <dgm:t>
        <a:bodyPr/>
        <a:lstStyle/>
        <a:p>
          <a:endParaRPr lang="en-IN" sz="800"/>
        </a:p>
      </dgm:t>
    </dgm:pt>
    <dgm:pt modelId="{7CBBC6BB-1AA3-42BF-B541-C8D254610650}">
      <dgm:prSet phldrT="[Text]" custT="1"/>
      <dgm:spPr/>
      <dgm:t>
        <a:bodyPr/>
        <a:lstStyle/>
        <a:p>
          <a:r>
            <a:rPr lang="en-US" sz="800" dirty="0"/>
            <a:t>Opening job in candidate portal or any other portal (Alumni, Career Portal etc.)</a:t>
          </a:r>
          <a:endParaRPr lang="en-IN" sz="800" dirty="0"/>
        </a:p>
      </dgm:t>
    </dgm:pt>
    <dgm:pt modelId="{BFE9BE39-3F23-40D3-9419-27433282D936}" type="parTrans" cxnId="{849353C9-506C-4A85-B57D-FBABF33FF974}">
      <dgm:prSet/>
      <dgm:spPr/>
      <dgm:t>
        <a:bodyPr/>
        <a:lstStyle/>
        <a:p>
          <a:endParaRPr lang="en-IN" sz="800"/>
        </a:p>
      </dgm:t>
    </dgm:pt>
    <dgm:pt modelId="{20641255-4CF0-4E8D-AD8F-9DC52A72C9EC}" type="sibTrans" cxnId="{849353C9-506C-4A85-B57D-FBABF33FF974}">
      <dgm:prSet/>
      <dgm:spPr/>
      <dgm:t>
        <a:bodyPr/>
        <a:lstStyle/>
        <a:p>
          <a:endParaRPr lang="en-IN" sz="800"/>
        </a:p>
      </dgm:t>
    </dgm:pt>
    <dgm:pt modelId="{D2BCBE42-96E3-4D15-81F7-D207B6B44921}">
      <dgm:prSet phldrT="[Text]" custT="1"/>
      <dgm:spPr/>
      <dgm:t>
        <a:bodyPr/>
        <a:lstStyle/>
        <a:p>
          <a:r>
            <a:rPr lang="en-US" sz="800" dirty="0"/>
            <a:t>Recruiter screening the profiles </a:t>
          </a:r>
          <a:endParaRPr lang="en-IN" sz="800" dirty="0"/>
        </a:p>
      </dgm:t>
    </dgm:pt>
    <dgm:pt modelId="{F130C941-2A9B-4C14-B602-C8FA49E0C5F6}" type="parTrans" cxnId="{1F7CA97A-8BCA-4080-A63C-FC5AD05E4863}">
      <dgm:prSet/>
      <dgm:spPr/>
      <dgm:t>
        <a:bodyPr/>
        <a:lstStyle/>
        <a:p>
          <a:endParaRPr lang="en-IN" sz="800"/>
        </a:p>
      </dgm:t>
    </dgm:pt>
    <dgm:pt modelId="{67BC560E-0F67-4A13-83D2-477C61483E2D}" type="sibTrans" cxnId="{1F7CA97A-8BCA-4080-A63C-FC5AD05E4863}">
      <dgm:prSet/>
      <dgm:spPr/>
      <dgm:t>
        <a:bodyPr/>
        <a:lstStyle/>
        <a:p>
          <a:endParaRPr lang="en-IN" sz="800"/>
        </a:p>
      </dgm:t>
    </dgm:pt>
    <dgm:pt modelId="{D381FF6A-7124-455C-A724-782747ED5EBC}">
      <dgm:prSet phldrT="[Text]" custT="1"/>
      <dgm:spPr/>
      <dgm:t>
        <a:bodyPr/>
        <a:lstStyle/>
        <a:p>
          <a:r>
            <a:rPr lang="en-US" sz="800" dirty="0"/>
            <a:t>Shortlisting candidates</a:t>
          </a:r>
          <a:endParaRPr lang="en-IN" sz="800" dirty="0"/>
        </a:p>
      </dgm:t>
    </dgm:pt>
    <dgm:pt modelId="{4B963471-3133-4D25-9936-D28182B007F2}" type="parTrans" cxnId="{9C8E953B-78B9-4DA2-9457-9D4640765B0D}">
      <dgm:prSet/>
      <dgm:spPr/>
      <dgm:t>
        <a:bodyPr/>
        <a:lstStyle/>
        <a:p>
          <a:endParaRPr lang="en-IN" sz="800"/>
        </a:p>
      </dgm:t>
    </dgm:pt>
    <dgm:pt modelId="{C8AD1008-7A11-42D6-A32F-0C72328FBD2A}" type="sibTrans" cxnId="{9C8E953B-78B9-4DA2-9457-9D4640765B0D}">
      <dgm:prSet/>
      <dgm:spPr/>
      <dgm:t>
        <a:bodyPr/>
        <a:lstStyle/>
        <a:p>
          <a:endParaRPr lang="en-IN" sz="800"/>
        </a:p>
      </dgm:t>
    </dgm:pt>
    <dgm:pt modelId="{6DD79AA1-EFAB-47CC-9606-0BDCD7407F4A}">
      <dgm:prSet phldrT="[Text]" custT="1"/>
      <dgm:spPr/>
      <dgm:t>
        <a:bodyPr/>
        <a:lstStyle/>
        <a:p>
          <a:r>
            <a:rPr lang="en-US" sz="800" dirty="0"/>
            <a:t>Candidate Portal access creation &amp; Providing basic details of candidates</a:t>
          </a:r>
          <a:endParaRPr lang="en-IN" sz="800" dirty="0"/>
        </a:p>
      </dgm:t>
    </dgm:pt>
    <dgm:pt modelId="{F933B572-4A2A-4E33-96C8-D8164DA7AEA9}" type="parTrans" cxnId="{745782E7-1104-4469-A96B-7F8B2811D268}">
      <dgm:prSet/>
      <dgm:spPr/>
      <dgm:t>
        <a:bodyPr/>
        <a:lstStyle/>
        <a:p>
          <a:endParaRPr lang="en-IN" sz="800"/>
        </a:p>
      </dgm:t>
    </dgm:pt>
    <dgm:pt modelId="{B7E828F7-6D2D-424A-8F2B-66BAB862A56D}" type="sibTrans" cxnId="{745782E7-1104-4469-A96B-7F8B2811D268}">
      <dgm:prSet/>
      <dgm:spPr/>
      <dgm:t>
        <a:bodyPr/>
        <a:lstStyle/>
        <a:p>
          <a:endParaRPr lang="en-IN" sz="800"/>
        </a:p>
      </dgm:t>
    </dgm:pt>
    <dgm:pt modelId="{D44BD279-9043-4037-A639-2C8635D65FF5}">
      <dgm:prSet custT="1"/>
      <dgm:spPr/>
      <dgm:t>
        <a:bodyPr/>
        <a:lstStyle/>
        <a:p>
          <a:r>
            <a:rPr lang="en-US" sz="800" dirty="0"/>
            <a:t>Scheduling of Interviews</a:t>
          </a:r>
          <a:endParaRPr lang="en-IN" sz="800" dirty="0"/>
        </a:p>
      </dgm:t>
    </dgm:pt>
    <dgm:pt modelId="{113A050B-3681-4294-B363-E2971E738CB2}" type="parTrans" cxnId="{DCD2BFE8-DB72-4DAA-A947-DF108669A2BB}">
      <dgm:prSet/>
      <dgm:spPr/>
      <dgm:t>
        <a:bodyPr/>
        <a:lstStyle/>
        <a:p>
          <a:endParaRPr lang="en-IN" sz="800"/>
        </a:p>
      </dgm:t>
    </dgm:pt>
    <dgm:pt modelId="{12ABB847-15CC-407E-AAC5-9AA246D3E31E}" type="sibTrans" cxnId="{DCD2BFE8-DB72-4DAA-A947-DF108669A2BB}">
      <dgm:prSet/>
      <dgm:spPr/>
      <dgm:t>
        <a:bodyPr/>
        <a:lstStyle/>
        <a:p>
          <a:endParaRPr lang="en-IN" sz="800"/>
        </a:p>
      </dgm:t>
    </dgm:pt>
    <dgm:pt modelId="{8937CC78-F6EF-4E95-AE00-279AAE7E0EB8}">
      <dgm:prSet custT="1"/>
      <dgm:spPr/>
      <dgm:t>
        <a:bodyPr/>
        <a:lstStyle/>
        <a:p>
          <a:r>
            <a:rPr lang="en-US" sz="800" dirty="0"/>
            <a:t>Interview Feedback submission by Hiring Manager &amp; HR</a:t>
          </a:r>
          <a:endParaRPr lang="en-IN" sz="800" dirty="0"/>
        </a:p>
      </dgm:t>
    </dgm:pt>
    <dgm:pt modelId="{0296D98C-CEC6-4D6F-B5E2-CD9498F9FA83}" type="parTrans" cxnId="{2E117E80-26F9-4280-A5DB-BA5EA94452F0}">
      <dgm:prSet/>
      <dgm:spPr/>
      <dgm:t>
        <a:bodyPr/>
        <a:lstStyle/>
        <a:p>
          <a:endParaRPr lang="en-IN" sz="800"/>
        </a:p>
      </dgm:t>
    </dgm:pt>
    <dgm:pt modelId="{39F150B7-87A5-4F04-B497-899068C833F0}" type="sibTrans" cxnId="{2E117E80-26F9-4280-A5DB-BA5EA94452F0}">
      <dgm:prSet/>
      <dgm:spPr/>
      <dgm:t>
        <a:bodyPr/>
        <a:lstStyle/>
        <a:p>
          <a:endParaRPr lang="en-IN" sz="800"/>
        </a:p>
      </dgm:t>
    </dgm:pt>
    <dgm:pt modelId="{4CF736C5-98A4-4E40-A414-0807AA1E65A1}">
      <dgm:prSet custT="1"/>
      <dgm:spPr/>
      <dgm:t>
        <a:bodyPr/>
        <a:lstStyle/>
        <a:p>
          <a:r>
            <a:rPr lang="en-US" sz="800" dirty="0"/>
            <a:t>Creating Multiple variants of CTCs to be offered and Approval by ZHR / Head TA / CHRO</a:t>
          </a:r>
          <a:endParaRPr lang="en-IN" sz="800" dirty="0"/>
        </a:p>
      </dgm:t>
    </dgm:pt>
    <dgm:pt modelId="{6FAF7202-AB09-417E-A409-BEC0984D782A}" type="parTrans" cxnId="{A79BAFAC-2B8B-4591-8AFC-2FD27195A0CD}">
      <dgm:prSet/>
      <dgm:spPr/>
      <dgm:t>
        <a:bodyPr/>
        <a:lstStyle/>
        <a:p>
          <a:endParaRPr lang="en-IN" sz="800"/>
        </a:p>
      </dgm:t>
    </dgm:pt>
    <dgm:pt modelId="{6C7630EF-468D-43CB-8A8F-ECE43EE749CA}" type="sibTrans" cxnId="{A79BAFAC-2B8B-4591-8AFC-2FD27195A0CD}">
      <dgm:prSet/>
      <dgm:spPr/>
      <dgm:t>
        <a:bodyPr/>
        <a:lstStyle/>
        <a:p>
          <a:endParaRPr lang="en-IN" sz="800"/>
        </a:p>
      </dgm:t>
    </dgm:pt>
    <dgm:pt modelId="{31D20EBD-DA6D-4EAD-AF62-F2CDF29FFDED}">
      <dgm:prSet custT="1"/>
      <dgm:spPr/>
      <dgm:t>
        <a:bodyPr/>
        <a:lstStyle/>
        <a:p>
          <a:r>
            <a:rPr lang="en-US" sz="800" dirty="0"/>
            <a:t>Negotiation and Acceptance by Candidate </a:t>
          </a:r>
          <a:endParaRPr lang="en-IN" sz="800" dirty="0"/>
        </a:p>
      </dgm:t>
    </dgm:pt>
    <dgm:pt modelId="{32007FE2-A1B2-4FCA-BC3D-6CEE1E0DC9BD}" type="parTrans" cxnId="{8022E8EE-9DB3-44A5-AF36-8B23E0F9F847}">
      <dgm:prSet/>
      <dgm:spPr/>
      <dgm:t>
        <a:bodyPr/>
        <a:lstStyle/>
        <a:p>
          <a:endParaRPr lang="en-IN" sz="800"/>
        </a:p>
      </dgm:t>
    </dgm:pt>
    <dgm:pt modelId="{2F33C79A-4E93-4394-A316-55689C697FA6}" type="sibTrans" cxnId="{8022E8EE-9DB3-44A5-AF36-8B23E0F9F847}">
      <dgm:prSet/>
      <dgm:spPr/>
      <dgm:t>
        <a:bodyPr/>
        <a:lstStyle/>
        <a:p>
          <a:endParaRPr lang="en-IN" sz="800"/>
        </a:p>
      </dgm:t>
    </dgm:pt>
    <dgm:pt modelId="{3C93D7F8-0379-48E6-ADDE-A2EB94DA8790}">
      <dgm:prSet custT="1"/>
      <dgm:spPr/>
      <dgm:t>
        <a:bodyPr/>
        <a:lstStyle/>
        <a:p>
          <a:r>
            <a:rPr lang="en-US" sz="800" dirty="0"/>
            <a:t>Offer Letter Creation and Approval by ZHR / RHR &amp; Acceptance by Candidate</a:t>
          </a:r>
          <a:endParaRPr lang="en-IN" sz="800" dirty="0"/>
        </a:p>
      </dgm:t>
    </dgm:pt>
    <dgm:pt modelId="{F1A7DED9-9546-4A37-882D-D6D49CCD7EAE}" type="parTrans" cxnId="{F40BE03D-FF3A-461A-9BC4-EE17FAF4C535}">
      <dgm:prSet/>
      <dgm:spPr/>
      <dgm:t>
        <a:bodyPr/>
        <a:lstStyle/>
        <a:p>
          <a:endParaRPr lang="en-IN" sz="800"/>
        </a:p>
      </dgm:t>
    </dgm:pt>
    <dgm:pt modelId="{3C891465-4957-42E6-8F0B-D97D049C72E9}" type="sibTrans" cxnId="{F40BE03D-FF3A-461A-9BC4-EE17FAF4C535}">
      <dgm:prSet/>
      <dgm:spPr/>
      <dgm:t>
        <a:bodyPr/>
        <a:lstStyle/>
        <a:p>
          <a:endParaRPr lang="en-IN" sz="800"/>
        </a:p>
      </dgm:t>
    </dgm:pt>
    <dgm:pt modelId="{94411062-5732-4906-901D-2476BCE58A26}">
      <dgm:prSet custT="1"/>
      <dgm:spPr/>
      <dgm:t>
        <a:bodyPr/>
        <a:lstStyle/>
        <a:p>
          <a:r>
            <a:rPr lang="en-US" sz="800" dirty="0"/>
            <a:t>Appointment Letter Creation and Approval by ZHR / RHR</a:t>
          </a:r>
          <a:endParaRPr lang="en-IN" sz="800" dirty="0"/>
        </a:p>
      </dgm:t>
    </dgm:pt>
    <dgm:pt modelId="{0353B0F6-E216-4896-BD91-30BF7F8B5A61}" type="parTrans" cxnId="{3BE9A70E-E8F9-4656-880B-2A1C4EBCFDC0}">
      <dgm:prSet/>
      <dgm:spPr/>
      <dgm:t>
        <a:bodyPr/>
        <a:lstStyle/>
        <a:p>
          <a:endParaRPr lang="en-IN" sz="800"/>
        </a:p>
      </dgm:t>
    </dgm:pt>
    <dgm:pt modelId="{621430C6-E679-45ED-A87B-38BE67FA06E3}" type="sibTrans" cxnId="{3BE9A70E-E8F9-4656-880B-2A1C4EBCFDC0}">
      <dgm:prSet/>
      <dgm:spPr/>
      <dgm:t>
        <a:bodyPr/>
        <a:lstStyle/>
        <a:p>
          <a:endParaRPr lang="en-IN" sz="800"/>
        </a:p>
      </dgm:t>
    </dgm:pt>
    <dgm:pt modelId="{D4221067-07D4-4DAD-BF16-A47EC27F2F2A}">
      <dgm:prSet custT="1"/>
      <dgm:spPr/>
      <dgm:t>
        <a:bodyPr/>
        <a:lstStyle/>
        <a:p>
          <a:r>
            <a:rPr lang="en-US" sz="800"/>
            <a:t>Review and Acceptance by Candidate</a:t>
          </a:r>
          <a:endParaRPr lang="en-IN" sz="800" dirty="0"/>
        </a:p>
      </dgm:t>
    </dgm:pt>
    <dgm:pt modelId="{AEDDB8A7-27E0-46B4-A7CC-3F37DE885446}" type="parTrans" cxnId="{269E850F-4C60-4700-AE28-9233E0349351}">
      <dgm:prSet/>
      <dgm:spPr/>
      <dgm:t>
        <a:bodyPr/>
        <a:lstStyle/>
        <a:p>
          <a:endParaRPr lang="en-IN" sz="800"/>
        </a:p>
      </dgm:t>
    </dgm:pt>
    <dgm:pt modelId="{A3A2B107-A9C3-4BDE-90CB-2960B27EF021}" type="sibTrans" cxnId="{269E850F-4C60-4700-AE28-9233E0349351}">
      <dgm:prSet/>
      <dgm:spPr/>
      <dgm:t>
        <a:bodyPr/>
        <a:lstStyle/>
        <a:p>
          <a:endParaRPr lang="en-IN" sz="800"/>
        </a:p>
      </dgm:t>
    </dgm:pt>
    <dgm:pt modelId="{9FB7EE33-4737-412D-9881-0C76840C3F53}">
      <dgm:prSet phldrT="[Text]" custT="1"/>
      <dgm:spPr/>
      <dgm:t>
        <a:bodyPr/>
        <a:lstStyle/>
        <a:p>
          <a:r>
            <a:rPr lang="en-US" sz="800" dirty="0"/>
            <a:t>Job Creation by Recruiter</a:t>
          </a:r>
          <a:endParaRPr lang="en-IN" sz="800" dirty="0"/>
        </a:p>
      </dgm:t>
    </dgm:pt>
    <dgm:pt modelId="{F5F9281D-203C-4633-BFC9-F00673F40CBF}" type="parTrans" cxnId="{4D966892-FCA0-448F-A781-8254CC5908F4}">
      <dgm:prSet/>
      <dgm:spPr/>
      <dgm:t>
        <a:bodyPr/>
        <a:lstStyle/>
        <a:p>
          <a:endParaRPr lang="en-IN" sz="800"/>
        </a:p>
      </dgm:t>
    </dgm:pt>
    <dgm:pt modelId="{6EE2C1D7-8748-4A86-91A1-8BCEDE1F4EAD}" type="sibTrans" cxnId="{4D966892-FCA0-448F-A781-8254CC5908F4}">
      <dgm:prSet/>
      <dgm:spPr/>
      <dgm:t>
        <a:bodyPr/>
        <a:lstStyle/>
        <a:p>
          <a:endParaRPr lang="en-IN" sz="800"/>
        </a:p>
      </dgm:t>
    </dgm:pt>
    <dgm:pt modelId="{07DA5113-8D72-4890-9E95-009B22580F44}">
      <dgm:prSet custT="1"/>
      <dgm:spPr/>
      <dgm:t>
        <a:bodyPr/>
        <a:lstStyle/>
        <a:p>
          <a:r>
            <a:rPr lang="en-US" sz="800" dirty="0"/>
            <a:t>BGV</a:t>
          </a:r>
          <a:endParaRPr lang="en-IN" sz="800" dirty="0"/>
        </a:p>
      </dgm:t>
    </dgm:pt>
    <dgm:pt modelId="{737B2E15-B9D3-45A1-AF9C-4C5AC51DACE2}" type="parTrans" cxnId="{9D2D1883-D7E5-4DC3-B612-9AB045A71809}">
      <dgm:prSet/>
      <dgm:spPr/>
      <dgm:t>
        <a:bodyPr/>
        <a:lstStyle/>
        <a:p>
          <a:endParaRPr lang="en-IN"/>
        </a:p>
      </dgm:t>
    </dgm:pt>
    <dgm:pt modelId="{05420DB0-3824-4765-BAD6-232A52C7C44E}" type="sibTrans" cxnId="{9D2D1883-D7E5-4DC3-B612-9AB045A71809}">
      <dgm:prSet/>
      <dgm:spPr/>
      <dgm:t>
        <a:bodyPr/>
        <a:lstStyle/>
        <a:p>
          <a:endParaRPr lang="en-IN"/>
        </a:p>
      </dgm:t>
    </dgm:pt>
    <dgm:pt modelId="{2DE5B656-EF39-4290-8CD3-1E70CD833A1F}">
      <dgm:prSet phldrT="[Text]" custT="1"/>
      <dgm:spPr/>
      <dgm:t>
        <a:bodyPr/>
        <a:lstStyle/>
        <a:p>
          <a:r>
            <a:rPr lang="en-US" sz="800" dirty="0"/>
            <a:t>PAN, Aadhaar, Dedupe, Rehire Validations &amp; pushing the details into Frappe HRMS for subsequent processing</a:t>
          </a:r>
          <a:endParaRPr lang="en-IN" sz="800" dirty="0"/>
        </a:p>
      </dgm:t>
    </dgm:pt>
    <dgm:pt modelId="{86CBA611-AF8D-4DEB-B8EF-C6F8B6A1A304}" type="parTrans" cxnId="{5C3BE868-D3F5-46FB-92A9-3354922F4D88}">
      <dgm:prSet/>
      <dgm:spPr/>
      <dgm:t>
        <a:bodyPr/>
        <a:lstStyle/>
        <a:p>
          <a:endParaRPr lang="en-IN"/>
        </a:p>
      </dgm:t>
    </dgm:pt>
    <dgm:pt modelId="{AFF7D791-51C3-4C5D-B388-20CCC231A1ED}" type="sibTrans" cxnId="{5C3BE868-D3F5-46FB-92A9-3354922F4D88}">
      <dgm:prSet/>
      <dgm:spPr/>
      <dgm:t>
        <a:bodyPr/>
        <a:lstStyle/>
        <a:p>
          <a:endParaRPr lang="en-IN"/>
        </a:p>
      </dgm:t>
    </dgm:pt>
    <dgm:pt modelId="{D562BF02-1012-47B1-A3A7-070F7E5A8E50}" type="pres">
      <dgm:prSet presAssocID="{F5645655-7827-4BCD-9C8D-6D76206697EF}" presName="linearFlow" presStyleCnt="0">
        <dgm:presLayoutVars>
          <dgm:dir/>
          <dgm:animLvl val="lvl"/>
          <dgm:resizeHandles val="exact"/>
        </dgm:presLayoutVars>
      </dgm:prSet>
      <dgm:spPr/>
    </dgm:pt>
    <dgm:pt modelId="{D9A459EB-0CE6-4476-878C-1C2B6639BD79}" type="pres">
      <dgm:prSet presAssocID="{AC25B001-F586-403A-BB5C-C016C4CD50DB}" presName="composite" presStyleCnt="0"/>
      <dgm:spPr/>
    </dgm:pt>
    <dgm:pt modelId="{C9B4F4DF-CC93-4634-B413-E7C2EC051F40}" type="pres">
      <dgm:prSet presAssocID="{AC25B001-F586-403A-BB5C-C016C4CD50DB}" presName="parentText" presStyleLbl="alignNode1" presStyleIdx="0" presStyleCnt="8" custScaleX="110000" custLinFactNeighborY="0">
        <dgm:presLayoutVars>
          <dgm:chMax val="1"/>
          <dgm:bulletEnabled val="1"/>
        </dgm:presLayoutVars>
      </dgm:prSet>
      <dgm:spPr/>
    </dgm:pt>
    <dgm:pt modelId="{0C9FB1E9-8B01-4B29-8D21-2CC53D06ECAE}" type="pres">
      <dgm:prSet presAssocID="{AC25B001-F586-403A-BB5C-C016C4CD50DB}" presName="descendantText" presStyleLbl="alignAcc1" presStyleIdx="0" presStyleCnt="8" custScaleX="96756" custLinFactNeighborX="138" custLinFactNeighborY="14724">
        <dgm:presLayoutVars>
          <dgm:bulletEnabled val="1"/>
        </dgm:presLayoutVars>
      </dgm:prSet>
      <dgm:spPr/>
    </dgm:pt>
    <dgm:pt modelId="{45678BF1-5550-4F1A-BD5E-EAE65631ECAF}" type="pres">
      <dgm:prSet presAssocID="{3A5E9BD6-70DE-40CA-A9E8-8EEC6BF9D7D0}" presName="sp" presStyleCnt="0"/>
      <dgm:spPr/>
    </dgm:pt>
    <dgm:pt modelId="{6097BBDA-D227-46C2-843C-3582AAFE7A20}" type="pres">
      <dgm:prSet presAssocID="{DDB3CBB4-59AC-4CD6-A223-E69F03AFBC26}" presName="composite" presStyleCnt="0"/>
      <dgm:spPr/>
    </dgm:pt>
    <dgm:pt modelId="{28238B0B-B251-4D11-9FFC-861665409535}" type="pres">
      <dgm:prSet presAssocID="{DDB3CBB4-59AC-4CD6-A223-E69F03AFBC26}" presName="parentText" presStyleLbl="alignNode1" presStyleIdx="1" presStyleCnt="8" custScaleX="110000" custLinFactNeighborY="0">
        <dgm:presLayoutVars>
          <dgm:chMax val="1"/>
          <dgm:bulletEnabled val="1"/>
        </dgm:presLayoutVars>
      </dgm:prSet>
      <dgm:spPr/>
    </dgm:pt>
    <dgm:pt modelId="{1C714012-CFD2-4D73-A7D4-8FE3E0BD3098}" type="pres">
      <dgm:prSet presAssocID="{DDB3CBB4-59AC-4CD6-A223-E69F03AFBC26}" presName="descendantText" presStyleLbl="alignAcc1" presStyleIdx="1" presStyleCnt="8" custScaleX="96756" custLinFactNeighborY="12275">
        <dgm:presLayoutVars>
          <dgm:bulletEnabled val="1"/>
        </dgm:presLayoutVars>
      </dgm:prSet>
      <dgm:spPr/>
    </dgm:pt>
    <dgm:pt modelId="{752F6E06-9560-4D64-A28B-34D82D378BFE}" type="pres">
      <dgm:prSet presAssocID="{2AE3CDDF-79A4-4B66-A080-046BE3683405}" presName="sp" presStyleCnt="0"/>
      <dgm:spPr/>
    </dgm:pt>
    <dgm:pt modelId="{DE365B81-0055-4610-BFE6-58BA24B62DB9}" type="pres">
      <dgm:prSet presAssocID="{5C9E15E0-680E-447E-80F6-523FA4447B91}" presName="composite" presStyleCnt="0"/>
      <dgm:spPr/>
    </dgm:pt>
    <dgm:pt modelId="{7AEB83A7-56D2-48C9-A5F0-5AD8A376326F}" type="pres">
      <dgm:prSet presAssocID="{5C9E15E0-680E-447E-80F6-523FA4447B91}" presName="parentText" presStyleLbl="alignNode1" presStyleIdx="2" presStyleCnt="8" custScaleX="110000" custLinFactNeighborY="0">
        <dgm:presLayoutVars>
          <dgm:chMax val="1"/>
          <dgm:bulletEnabled val="1"/>
        </dgm:presLayoutVars>
      </dgm:prSet>
      <dgm:spPr/>
    </dgm:pt>
    <dgm:pt modelId="{3010D677-24F5-4621-9843-2520CFAC7F45}" type="pres">
      <dgm:prSet presAssocID="{5C9E15E0-680E-447E-80F6-523FA4447B91}" presName="descendantText" presStyleLbl="alignAcc1" presStyleIdx="2" presStyleCnt="8" custScaleX="96756" custLinFactNeighborY="9820">
        <dgm:presLayoutVars>
          <dgm:bulletEnabled val="1"/>
        </dgm:presLayoutVars>
      </dgm:prSet>
      <dgm:spPr/>
    </dgm:pt>
    <dgm:pt modelId="{A5EADB4F-7DF1-4F42-8872-844C37EEF16C}" type="pres">
      <dgm:prSet presAssocID="{BD5333F1-456A-4DB7-8436-764F84354F42}" presName="sp" presStyleCnt="0"/>
      <dgm:spPr/>
    </dgm:pt>
    <dgm:pt modelId="{166C82B4-571E-4D9B-85A0-F3088A92B4A5}" type="pres">
      <dgm:prSet presAssocID="{EB48BD06-23BC-4486-9C04-772B41295B5B}" presName="composite" presStyleCnt="0"/>
      <dgm:spPr/>
    </dgm:pt>
    <dgm:pt modelId="{20A9D781-A829-4B7A-880D-157B0327C36F}" type="pres">
      <dgm:prSet presAssocID="{EB48BD06-23BC-4486-9C04-772B41295B5B}" presName="parentText" presStyleLbl="alignNode1" presStyleIdx="3" presStyleCnt="8" custScaleX="110000" custLinFactNeighborY="0">
        <dgm:presLayoutVars>
          <dgm:chMax val="1"/>
          <dgm:bulletEnabled val="1"/>
        </dgm:presLayoutVars>
      </dgm:prSet>
      <dgm:spPr/>
    </dgm:pt>
    <dgm:pt modelId="{BDDF3BA5-BC7F-4BD8-926D-56E367CAD9D1}" type="pres">
      <dgm:prSet presAssocID="{EB48BD06-23BC-4486-9C04-772B41295B5B}" presName="descendantText" presStyleLbl="alignAcc1" presStyleIdx="3" presStyleCnt="8" custScaleX="96756" custLinFactNeighborY="12275">
        <dgm:presLayoutVars>
          <dgm:bulletEnabled val="1"/>
        </dgm:presLayoutVars>
      </dgm:prSet>
      <dgm:spPr/>
    </dgm:pt>
    <dgm:pt modelId="{C224869E-9740-4C4A-B2D5-4A46AD509DAC}" type="pres">
      <dgm:prSet presAssocID="{706493BD-D5E8-4EDF-9F9D-71296519E4CA}" presName="sp" presStyleCnt="0"/>
      <dgm:spPr/>
    </dgm:pt>
    <dgm:pt modelId="{593ED597-73A7-4D03-BCA1-893F43AD882B}" type="pres">
      <dgm:prSet presAssocID="{24466988-B967-4C27-B5FB-926A4067DEF2}" presName="composite" presStyleCnt="0"/>
      <dgm:spPr/>
    </dgm:pt>
    <dgm:pt modelId="{4C434DF2-1203-46EC-A736-8F3625C6A502}" type="pres">
      <dgm:prSet presAssocID="{24466988-B967-4C27-B5FB-926A4067DEF2}" presName="parentText" presStyleLbl="alignNode1" presStyleIdx="4" presStyleCnt="8" custScaleX="110000" custLinFactNeighborY="0">
        <dgm:presLayoutVars>
          <dgm:chMax val="1"/>
          <dgm:bulletEnabled val="1"/>
        </dgm:presLayoutVars>
      </dgm:prSet>
      <dgm:spPr/>
    </dgm:pt>
    <dgm:pt modelId="{5A5DA578-2228-485B-BADB-7E2C184A7120}" type="pres">
      <dgm:prSet presAssocID="{24466988-B967-4C27-B5FB-926A4067DEF2}" presName="descendantText" presStyleLbl="alignAcc1" presStyleIdx="4" presStyleCnt="8" custScaleX="96756" custLinFactNeighborY="9820">
        <dgm:presLayoutVars>
          <dgm:bulletEnabled val="1"/>
        </dgm:presLayoutVars>
      </dgm:prSet>
      <dgm:spPr/>
    </dgm:pt>
    <dgm:pt modelId="{C44D1CE9-244A-47B9-B916-A5523428A8E3}" type="pres">
      <dgm:prSet presAssocID="{0929077B-AD3F-4FF1-AE90-6B294D258299}" presName="sp" presStyleCnt="0"/>
      <dgm:spPr/>
    </dgm:pt>
    <dgm:pt modelId="{8F627087-4735-4ECF-928E-8BA7B795607A}" type="pres">
      <dgm:prSet presAssocID="{5881B6EC-91E9-4D4F-83B9-E1090CCDCAF0}" presName="composite" presStyleCnt="0"/>
      <dgm:spPr/>
    </dgm:pt>
    <dgm:pt modelId="{F6B5B8A1-61B2-45BB-987C-B24085693519}" type="pres">
      <dgm:prSet presAssocID="{5881B6EC-91E9-4D4F-83B9-E1090CCDCAF0}" presName="parentText" presStyleLbl="alignNode1" presStyleIdx="5" presStyleCnt="8" custScaleX="110000" custLinFactNeighborY="0">
        <dgm:presLayoutVars>
          <dgm:chMax val="1"/>
          <dgm:bulletEnabled val="1"/>
        </dgm:presLayoutVars>
      </dgm:prSet>
      <dgm:spPr/>
    </dgm:pt>
    <dgm:pt modelId="{640509E3-A0DB-4CD5-AE92-82BAC327E927}" type="pres">
      <dgm:prSet presAssocID="{5881B6EC-91E9-4D4F-83B9-E1090CCDCAF0}" presName="descendantText" presStyleLbl="alignAcc1" presStyleIdx="5" presStyleCnt="8" custScaleX="96756" custLinFactNeighborY="12275">
        <dgm:presLayoutVars>
          <dgm:bulletEnabled val="1"/>
        </dgm:presLayoutVars>
      </dgm:prSet>
      <dgm:spPr/>
    </dgm:pt>
    <dgm:pt modelId="{1160072C-ED7A-4F9D-8E05-82CD53AC0D25}" type="pres">
      <dgm:prSet presAssocID="{57E89B39-C0E0-4D2D-AD12-23124F9F61DB}" presName="sp" presStyleCnt="0"/>
      <dgm:spPr/>
    </dgm:pt>
    <dgm:pt modelId="{2DC8A3E5-34CF-410E-9D2F-12A1D5740ABE}" type="pres">
      <dgm:prSet presAssocID="{44B22FC9-3589-4D67-BA2A-A9C9F718D14D}" presName="composite" presStyleCnt="0"/>
      <dgm:spPr/>
    </dgm:pt>
    <dgm:pt modelId="{8B56BED4-05AF-4434-B4BE-0D866387A51C}" type="pres">
      <dgm:prSet presAssocID="{44B22FC9-3589-4D67-BA2A-A9C9F718D14D}" presName="parentText" presStyleLbl="alignNode1" presStyleIdx="6" presStyleCnt="8" custScaleX="110000" custLinFactNeighborY="0">
        <dgm:presLayoutVars>
          <dgm:chMax val="1"/>
          <dgm:bulletEnabled val="1"/>
        </dgm:presLayoutVars>
      </dgm:prSet>
      <dgm:spPr/>
    </dgm:pt>
    <dgm:pt modelId="{C241DC8A-B205-4547-BDDA-00A61A522508}" type="pres">
      <dgm:prSet presAssocID="{44B22FC9-3589-4D67-BA2A-A9C9F718D14D}" presName="descendantText" presStyleLbl="alignAcc1" presStyleIdx="6" presStyleCnt="8" custScaleX="96756" custLinFactNeighborX="-147" custLinFactNeighborY="9822">
        <dgm:presLayoutVars>
          <dgm:bulletEnabled val="1"/>
        </dgm:presLayoutVars>
      </dgm:prSet>
      <dgm:spPr/>
    </dgm:pt>
    <dgm:pt modelId="{73C48AC6-58EA-4122-B148-7241037FD092}" type="pres">
      <dgm:prSet presAssocID="{7F27950E-BDEC-4A7C-A1C0-A8D4DA8BBC2D}" presName="sp" presStyleCnt="0"/>
      <dgm:spPr/>
    </dgm:pt>
    <dgm:pt modelId="{C1F93DED-DAC1-4BBD-AACD-3E89E35382CE}" type="pres">
      <dgm:prSet presAssocID="{76C574D6-5B00-4C6C-9A6F-B62CA619F1E6}" presName="composite" presStyleCnt="0"/>
      <dgm:spPr/>
    </dgm:pt>
    <dgm:pt modelId="{2E9BB5EC-5B8D-414F-90E0-571AE6250906}" type="pres">
      <dgm:prSet presAssocID="{76C574D6-5B00-4C6C-9A6F-B62CA619F1E6}" presName="parentText" presStyleLbl="alignNode1" presStyleIdx="7" presStyleCnt="8" custScaleX="110000" custLinFactNeighborY="0">
        <dgm:presLayoutVars>
          <dgm:chMax val="1"/>
          <dgm:bulletEnabled val="1"/>
        </dgm:presLayoutVars>
      </dgm:prSet>
      <dgm:spPr/>
    </dgm:pt>
    <dgm:pt modelId="{168F310A-6B86-4A44-856C-DB1815AF6EAE}" type="pres">
      <dgm:prSet presAssocID="{76C574D6-5B00-4C6C-9A6F-B62CA619F1E6}" presName="descendantText" presStyleLbl="alignAcc1" presStyleIdx="7" presStyleCnt="8" custScaleX="96756" custLinFactNeighborX="-147" custLinFactNeighborY="12277">
        <dgm:presLayoutVars>
          <dgm:bulletEnabled val="1"/>
        </dgm:presLayoutVars>
      </dgm:prSet>
      <dgm:spPr/>
    </dgm:pt>
  </dgm:ptLst>
  <dgm:cxnLst>
    <dgm:cxn modelId="{8CF53005-76DD-4E61-B685-FDA028936931}" type="presOf" srcId="{4CF736C5-98A4-4E40-A414-0807AA1E65A1}" destId="{640509E3-A0DB-4CD5-AE92-82BAC327E927}" srcOrd="0" destOrd="0" presId="urn:microsoft.com/office/officeart/2005/8/layout/chevron2"/>
    <dgm:cxn modelId="{A2741F08-D96A-4481-AF31-6ADA0DC652E8}" type="presOf" srcId="{94411062-5732-4906-901D-2476BCE58A26}" destId="{168F310A-6B86-4A44-856C-DB1815AF6EAE}" srcOrd="0" destOrd="0" presId="urn:microsoft.com/office/officeart/2005/8/layout/chevron2"/>
    <dgm:cxn modelId="{71F4910D-D301-40C6-BF67-5CA7A3F45C4A}" type="presOf" srcId="{D48E90C1-AEFC-444E-B284-81D8038D4D47}" destId="{0C9FB1E9-8B01-4B29-8D21-2CC53D06ECAE}" srcOrd="0" destOrd="1" presId="urn:microsoft.com/office/officeart/2005/8/layout/chevron2"/>
    <dgm:cxn modelId="{3BE9A70E-E8F9-4656-880B-2A1C4EBCFDC0}" srcId="{76C574D6-5B00-4C6C-9A6F-B62CA619F1E6}" destId="{94411062-5732-4906-901D-2476BCE58A26}" srcOrd="0" destOrd="0" parTransId="{0353B0F6-E216-4896-BD91-30BF7F8B5A61}" sibTransId="{621430C6-E679-45ED-A87B-38BE67FA06E3}"/>
    <dgm:cxn modelId="{269E850F-4C60-4700-AE28-9233E0349351}" srcId="{76C574D6-5B00-4C6C-9A6F-B62CA619F1E6}" destId="{D4221067-07D4-4DAD-BF16-A47EC27F2F2A}" srcOrd="1" destOrd="0" parTransId="{AEDDB8A7-27E0-46B4-A7CC-3F37DE885446}" sibTransId="{A3A2B107-A9C3-4BDE-90CB-2960B27EF021}"/>
    <dgm:cxn modelId="{9BAC2B15-01B4-430A-8793-CEC041B0B83B}" type="presOf" srcId="{24466988-B967-4C27-B5FB-926A4067DEF2}" destId="{4C434DF2-1203-46EC-A736-8F3625C6A502}" srcOrd="0" destOrd="0" presId="urn:microsoft.com/office/officeart/2005/8/layout/chevron2"/>
    <dgm:cxn modelId="{657F0316-7D44-4C95-A613-FFA8F0E8A846}" type="presOf" srcId="{5881B6EC-91E9-4D4F-83B9-E1090CCDCAF0}" destId="{F6B5B8A1-61B2-45BB-987C-B24085693519}" srcOrd="0" destOrd="0" presId="urn:microsoft.com/office/officeart/2005/8/layout/chevron2"/>
    <dgm:cxn modelId="{558F591F-8093-4F8C-B21E-F8C3D5CD431C}" type="presOf" srcId="{2DE5B656-EF39-4290-8CD3-1E70CD833A1F}" destId="{BDDF3BA5-BC7F-4BD8-926D-56E367CAD9D1}" srcOrd="0" destOrd="1" presId="urn:microsoft.com/office/officeart/2005/8/layout/chevron2"/>
    <dgm:cxn modelId="{89E61933-FB5D-40B8-9593-4226006991C3}" type="presOf" srcId="{AC25B001-F586-403A-BB5C-C016C4CD50DB}" destId="{C9B4F4DF-CC93-4634-B413-E7C2EC051F40}" srcOrd="0" destOrd="0" presId="urn:microsoft.com/office/officeart/2005/8/layout/chevron2"/>
    <dgm:cxn modelId="{B88BFF37-E315-422C-AE83-B90075D7FBE5}" type="presOf" srcId="{F5645655-7827-4BCD-9C8D-6D76206697EF}" destId="{D562BF02-1012-47B1-A3A7-070F7E5A8E50}" srcOrd="0" destOrd="0" presId="urn:microsoft.com/office/officeart/2005/8/layout/chevron2"/>
    <dgm:cxn modelId="{9C8E953B-78B9-4DA2-9457-9D4640765B0D}" srcId="{5C9E15E0-680E-447E-80F6-523FA4447B91}" destId="{D381FF6A-7124-455C-A724-782747ED5EBC}" srcOrd="1" destOrd="0" parTransId="{4B963471-3133-4D25-9936-D28182B007F2}" sibTransId="{C8AD1008-7A11-42D6-A32F-0C72328FBD2A}"/>
    <dgm:cxn modelId="{F40BE03D-FF3A-461A-9BC4-EE17FAF4C535}" srcId="{44B22FC9-3589-4D67-BA2A-A9C9F718D14D}" destId="{3C93D7F8-0379-48E6-ADDE-A2EB94DA8790}" srcOrd="0" destOrd="0" parTransId="{F1A7DED9-9546-4A37-882D-D6D49CCD7EAE}" sibTransId="{3C891465-4957-42E6-8F0B-D97D049C72E9}"/>
    <dgm:cxn modelId="{EFDE1F54-FCDA-4D8E-83B7-3B3029042D45}" type="presOf" srcId="{D44BD279-9043-4037-A639-2C8635D65FF5}" destId="{5A5DA578-2228-485B-BADB-7E2C184A7120}" srcOrd="0" destOrd="0" presId="urn:microsoft.com/office/officeart/2005/8/layout/chevron2"/>
    <dgm:cxn modelId="{3B0DEF55-65CE-4597-8782-8308C93BF986}" type="presOf" srcId="{76C574D6-5B00-4C6C-9A6F-B62CA619F1E6}" destId="{2E9BB5EC-5B8D-414F-90E0-571AE6250906}" srcOrd="0" destOrd="0" presId="urn:microsoft.com/office/officeart/2005/8/layout/chevron2"/>
    <dgm:cxn modelId="{B1B2D85F-384A-4865-BB92-341855F0793A}" srcId="{F5645655-7827-4BCD-9C8D-6D76206697EF}" destId="{44B22FC9-3589-4D67-BA2A-A9C9F718D14D}" srcOrd="6" destOrd="0" parTransId="{CEC13B11-467B-416E-9505-CDB93425CE60}" sibTransId="{7F27950E-BDEC-4A7C-A1C0-A8D4DA8BBC2D}"/>
    <dgm:cxn modelId="{9CE1C364-375F-4DBB-A138-17D07B7AEB93}" srcId="{F5645655-7827-4BCD-9C8D-6D76206697EF}" destId="{5881B6EC-91E9-4D4F-83B9-E1090CCDCAF0}" srcOrd="5" destOrd="0" parTransId="{88FD5DA2-C3B4-4F1B-8F9E-E57E048BF3D0}" sibTransId="{57E89B39-C0E0-4D2D-AD12-23124F9F61DB}"/>
    <dgm:cxn modelId="{5C3BE868-D3F5-46FB-92A9-3354922F4D88}" srcId="{EB48BD06-23BC-4486-9C04-772B41295B5B}" destId="{2DE5B656-EF39-4290-8CD3-1E70CD833A1F}" srcOrd="1" destOrd="0" parTransId="{86CBA611-AF8D-4DEB-B8EF-C6F8B6A1A304}" sibTransId="{AFF7D791-51C3-4C5D-B388-20CCC231A1ED}"/>
    <dgm:cxn modelId="{63E44C6A-6A23-4368-BCA7-92E86AA24AF4}" srcId="{AC25B001-F586-403A-BB5C-C016C4CD50DB}" destId="{D48E90C1-AEFC-444E-B284-81D8038D4D47}" srcOrd="1" destOrd="0" parTransId="{2756BC17-2906-4F0E-9C01-2900535DB20F}" sibTransId="{C37859EF-525D-4CF2-8137-E39DAB1DEDFC}"/>
    <dgm:cxn modelId="{1F7CA97A-8BCA-4080-A63C-FC5AD05E4863}" srcId="{5C9E15E0-680E-447E-80F6-523FA4447B91}" destId="{D2BCBE42-96E3-4D15-81F7-D207B6B44921}" srcOrd="0" destOrd="0" parTransId="{F130C941-2A9B-4C14-B602-C8FA49E0C5F6}" sibTransId="{67BC560E-0F67-4A13-83D2-477C61483E2D}"/>
    <dgm:cxn modelId="{AF9A7E7B-0351-4E5A-A563-BE41D187FE73}" type="presOf" srcId="{DDB3CBB4-59AC-4CD6-A223-E69F03AFBC26}" destId="{28238B0B-B251-4D11-9FFC-861665409535}" srcOrd="0" destOrd="0" presId="urn:microsoft.com/office/officeart/2005/8/layout/chevron2"/>
    <dgm:cxn modelId="{2E117E80-26F9-4280-A5DB-BA5EA94452F0}" srcId="{24466988-B967-4C27-B5FB-926A4067DEF2}" destId="{8937CC78-F6EF-4E95-AE00-279AAE7E0EB8}" srcOrd="1" destOrd="0" parTransId="{0296D98C-CEC6-4D6F-B5E2-CD9498F9FA83}" sibTransId="{39F150B7-87A5-4F04-B497-899068C833F0}"/>
    <dgm:cxn modelId="{9B132382-FC9E-405B-979F-2B41E07DDA9F}" type="presOf" srcId="{5C9E15E0-680E-447E-80F6-523FA4447B91}" destId="{7AEB83A7-56D2-48C9-A5F0-5AD8A376326F}" srcOrd="0" destOrd="0" presId="urn:microsoft.com/office/officeart/2005/8/layout/chevron2"/>
    <dgm:cxn modelId="{4AF67D82-0001-4261-BDFC-8EB25BD49C52}" type="presOf" srcId="{D4221067-07D4-4DAD-BF16-A47EC27F2F2A}" destId="{168F310A-6B86-4A44-856C-DB1815AF6EAE}" srcOrd="0" destOrd="1" presId="urn:microsoft.com/office/officeart/2005/8/layout/chevron2"/>
    <dgm:cxn modelId="{9D2D1883-D7E5-4DC3-B612-9AB045A71809}" srcId="{44B22FC9-3589-4D67-BA2A-A9C9F718D14D}" destId="{07DA5113-8D72-4890-9E95-009B22580F44}" srcOrd="1" destOrd="0" parTransId="{737B2E15-B9D3-45A1-AF9C-4C5AC51DACE2}" sibTransId="{05420DB0-3824-4765-BAD6-232A52C7C44E}"/>
    <dgm:cxn modelId="{F4D8D987-B11F-4FB2-83DA-C6D9E7182CCD}" type="presOf" srcId="{D2BCBE42-96E3-4D15-81F7-D207B6B44921}" destId="{3010D677-24F5-4621-9843-2520CFAC7F45}" srcOrd="0" destOrd="0" presId="urn:microsoft.com/office/officeart/2005/8/layout/chevron2"/>
    <dgm:cxn modelId="{3820A788-747F-4B5C-9BCF-15CF42865EC1}" srcId="{F5645655-7827-4BCD-9C8D-6D76206697EF}" destId="{24466988-B967-4C27-B5FB-926A4067DEF2}" srcOrd="4" destOrd="0" parTransId="{D6624743-3555-4DE4-9FAA-91BE700BDEBF}" sibTransId="{0929077B-AD3F-4FF1-AE90-6B294D258299}"/>
    <dgm:cxn modelId="{E5CDAF88-0AAF-4E12-94F3-40D54CE5E3F1}" srcId="{F5645655-7827-4BCD-9C8D-6D76206697EF}" destId="{EB48BD06-23BC-4486-9C04-772B41295B5B}" srcOrd="3" destOrd="0" parTransId="{A429FD28-3E8B-41DA-8548-11319FE99E43}" sibTransId="{706493BD-D5E8-4EDF-9F9D-71296519E4CA}"/>
    <dgm:cxn modelId="{C3A6BA8D-74D6-4047-BA9A-B95FFE96DE25}" type="presOf" srcId="{07DA5113-8D72-4890-9E95-009B22580F44}" destId="{C241DC8A-B205-4547-BDDA-00A61A522508}" srcOrd="0" destOrd="1" presId="urn:microsoft.com/office/officeart/2005/8/layout/chevron2"/>
    <dgm:cxn modelId="{4D966892-FCA0-448F-A781-8254CC5908F4}" srcId="{DDB3CBB4-59AC-4CD6-A223-E69F03AFBC26}" destId="{9FB7EE33-4737-412D-9881-0C76840C3F53}" srcOrd="0" destOrd="0" parTransId="{F5F9281D-203C-4633-BFC9-F00673F40CBF}" sibTransId="{6EE2C1D7-8748-4A86-91A1-8BCEDE1F4EAD}"/>
    <dgm:cxn modelId="{CE2B9D92-D17D-4E67-AC29-2B4D4B171A3A}" type="presOf" srcId="{44B22FC9-3589-4D67-BA2A-A9C9F718D14D}" destId="{8B56BED4-05AF-4434-B4BE-0D866387A51C}" srcOrd="0" destOrd="0" presId="urn:microsoft.com/office/officeart/2005/8/layout/chevron2"/>
    <dgm:cxn modelId="{AED2E592-01F8-45EB-9D6F-9181E20613BA}" srcId="{F5645655-7827-4BCD-9C8D-6D76206697EF}" destId="{AC25B001-F586-403A-BB5C-C016C4CD50DB}" srcOrd="0" destOrd="0" parTransId="{76CE337A-6853-4C5D-BDCF-33FCAFB024FF}" sibTransId="{3A5E9BD6-70DE-40CA-A9E8-8EEC6BF9D7D0}"/>
    <dgm:cxn modelId="{C4ED2796-6F3E-4B54-912E-E6E5E09FB299}" type="presOf" srcId="{D381FF6A-7124-455C-A724-782747ED5EBC}" destId="{3010D677-24F5-4621-9843-2520CFAC7F45}" srcOrd="0" destOrd="1" presId="urn:microsoft.com/office/officeart/2005/8/layout/chevron2"/>
    <dgm:cxn modelId="{27A7889A-BC9B-4759-B7CA-9BC1361E8756}" srcId="{F5645655-7827-4BCD-9C8D-6D76206697EF}" destId="{76C574D6-5B00-4C6C-9A6F-B62CA619F1E6}" srcOrd="7" destOrd="0" parTransId="{38234C1B-92D6-42B0-A319-7A38B09169EB}" sibTransId="{A82D01D3-2DCD-4FDC-B496-CCB27C3164A1}"/>
    <dgm:cxn modelId="{4A6553A0-07E2-4F6A-92B3-AB8A64A030DB}" srcId="{F5645655-7827-4BCD-9C8D-6D76206697EF}" destId="{DDB3CBB4-59AC-4CD6-A223-E69F03AFBC26}" srcOrd="1" destOrd="0" parTransId="{6DF0DF50-6124-4196-AD09-4481E1921F80}" sibTransId="{2AE3CDDF-79A4-4B66-A080-046BE3683405}"/>
    <dgm:cxn modelId="{48DF9FA3-7EF8-4950-B122-E9570EFF81D0}" type="presOf" srcId="{EB48BD06-23BC-4486-9C04-772B41295B5B}" destId="{20A9D781-A829-4B7A-880D-157B0327C36F}" srcOrd="0" destOrd="0" presId="urn:microsoft.com/office/officeart/2005/8/layout/chevron2"/>
    <dgm:cxn modelId="{8425A6A5-781B-49FD-87C6-5D692752E9E6}" type="presOf" srcId="{9FB7EE33-4737-412D-9881-0C76840C3F53}" destId="{1C714012-CFD2-4D73-A7D4-8FE3E0BD3098}" srcOrd="0" destOrd="0" presId="urn:microsoft.com/office/officeart/2005/8/layout/chevron2"/>
    <dgm:cxn modelId="{7EE87DA7-93AC-4FD9-8CB1-34EC2255D10B}" type="presOf" srcId="{8937CC78-F6EF-4E95-AE00-279AAE7E0EB8}" destId="{5A5DA578-2228-485B-BADB-7E2C184A7120}" srcOrd="0" destOrd="1" presId="urn:microsoft.com/office/officeart/2005/8/layout/chevron2"/>
    <dgm:cxn modelId="{284041A9-5A70-4F53-9A34-555F02D99A21}" srcId="{AC25B001-F586-403A-BB5C-C016C4CD50DB}" destId="{0584F6EE-6F59-47DB-A4B7-67BAFCED0906}" srcOrd="0" destOrd="0" parTransId="{2B66B5FE-DB8E-4B3C-A335-DE412F509887}" sibTransId="{5FA27D4A-D277-40FF-BFD5-688353BCC56E}"/>
    <dgm:cxn modelId="{A79BAFAC-2B8B-4591-8AFC-2FD27195A0CD}" srcId="{5881B6EC-91E9-4D4F-83B9-E1090CCDCAF0}" destId="{4CF736C5-98A4-4E40-A414-0807AA1E65A1}" srcOrd="0" destOrd="0" parTransId="{6FAF7202-AB09-417E-A409-BEC0984D782A}" sibTransId="{6C7630EF-468D-43CB-8A8F-ECE43EE749CA}"/>
    <dgm:cxn modelId="{BC576FB4-6DD9-45B7-AD1F-9E8C357850C0}" srcId="{F5645655-7827-4BCD-9C8D-6D76206697EF}" destId="{5C9E15E0-680E-447E-80F6-523FA4447B91}" srcOrd="2" destOrd="0" parTransId="{9457B91D-397B-4D79-AC03-A914EC2C826E}" sibTransId="{BD5333F1-456A-4DB7-8436-764F84354F42}"/>
    <dgm:cxn modelId="{8D4D54C2-3D3B-4736-869D-F508D470BA8C}" type="presOf" srcId="{6DD79AA1-EFAB-47CC-9606-0BDCD7407F4A}" destId="{BDDF3BA5-BC7F-4BD8-926D-56E367CAD9D1}" srcOrd="0" destOrd="0" presId="urn:microsoft.com/office/officeart/2005/8/layout/chevron2"/>
    <dgm:cxn modelId="{849353C9-506C-4A85-B57D-FBABF33FF974}" srcId="{DDB3CBB4-59AC-4CD6-A223-E69F03AFBC26}" destId="{7CBBC6BB-1AA3-42BF-B541-C8D254610650}" srcOrd="1" destOrd="0" parTransId="{BFE9BE39-3F23-40D3-9419-27433282D936}" sibTransId="{20641255-4CF0-4E8D-AD8F-9DC52A72C9EC}"/>
    <dgm:cxn modelId="{B46EA0CB-DB43-43EE-9C59-7A11FE610E09}" type="presOf" srcId="{0584F6EE-6F59-47DB-A4B7-67BAFCED0906}" destId="{0C9FB1E9-8B01-4B29-8D21-2CC53D06ECAE}" srcOrd="0" destOrd="0" presId="urn:microsoft.com/office/officeart/2005/8/layout/chevron2"/>
    <dgm:cxn modelId="{745782E7-1104-4469-A96B-7F8B2811D268}" srcId="{EB48BD06-23BC-4486-9C04-772B41295B5B}" destId="{6DD79AA1-EFAB-47CC-9606-0BDCD7407F4A}" srcOrd="0" destOrd="0" parTransId="{F933B572-4A2A-4E33-96C8-D8164DA7AEA9}" sibTransId="{B7E828F7-6D2D-424A-8F2B-66BAB862A56D}"/>
    <dgm:cxn modelId="{DCD2BFE8-DB72-4DAA-A947-DF108669A2BB}" srcId="{24466988-B967-4C27-B5FB-926A4067DEF2}" destId="{D44BD279-9043-4037-A639-2C8635D65FF5}" srcOrd="0" destOrd="0" parTransId="{113A050B-3681-4294-B363-E2971E738CB2}" sibTransId="{12ABB847-15CC-407E-AAC5-9AA246D3E31E}"/>
    <dgm:cxn modelId="{82F2ABED-A5E4-4655-9A21-4504C7610152}" type="presOf" srcId="{31D20EBD-DA6D-4EAD-AF62-F2CDF29FFDED}" destId="{640509E3-A0DB-4CD5-AE92-82BAC327E927}" srcOrd="0" destOrd="1" presId="urn:microsoft.com/office/officeart/2005/8/layout/chevron2"/>
    <dgm:cxn modelId="{8022E8EE-9DB3-44A5-AF36-8B23E0F9F847}" srcId="{5881B6EC-91E9-4D4F-83B9-E1090CCDCAF0}" destId="{31D20EBD-DA6D-4EAD-AF62-F2CDF29FFDED}" srcOrd="1" destOrd="0" parTransId="{32007FE2-A1B2-4FCA-BC3D-6CEE1E0DC9BD}" sibTransId="{2F33C79A-4E93-4394-A316-55689C697FA6}"/>
    <dgm:cxn modelId="{E6C362FC-B0C7-419D-9DEF-03CF8D050763}" type="presOf" srcId="{7CBBC6BB-1AA3-42BF-B541-C8D254610650}" destId="{1C714012-CFD2-4D73-A7D4-8FE3E0BD3098}" srcOrd="0" destOrd="1" presId="urn:microsoft.com/office/officeart/2005/8/layout/chevron2"/>
    <dgm:cxn modelId="{106922FD-EEB8-4FD6-AF86-150BF141AB55}" type="presOf" srcId="{3C93D7F8-0379-48E6-ADDE-A2EB94DA8790}" destId="{C241DC8A-B205-4547-BDDA-00A61A522508}" srcOrd="0" destOrd="0" presId="urn:microsoft.com/office/officeart/2005/8/layout/chevron2"/>
    <dgm:cxn modelId="{83E04419-407B-4D09-8AFE-E1685BFFB905}" type="presParOf" srcId="{D562BF02-1012-47B1-A3A7-070F7E5A8E50}" destId="{D9A459EB-0CE6-4476-878C-1C2B6639BD79}" srcOrd="0" destOrd="0" presId="urn:microsoft.com/office/officeart/2005/8/layout/chevron2"/>
    <dgm:cxn modelId="{644061EA-CB9C-422F-A89C-844CFE4ECBF6}" type="presParOf" srcId="{D9A459EB-0CE6-4476-878C-1C2B6639BD79}" destId="{C9B4F4DF-CC93-4634-B413-E7C2EC051F40}" srcOrd="0" destOrd="0" presId="urn:microsoft.com/office/officeart/2005/8/layout/chevron2"/>
    <dgm:cxn modelId="{E1C57A0B-F54A-4134-8F6C-04416EC7F93A}" type="presParOf" srcId="{D9A459EB-0CE6-4476-878C-1C2B6639BD79}" destId="{0C9FB1E9-8B01-4B29-8D21-2CC53D06ECAE}" srcOrd="1" destOrd="0" presId="urn:microsoft.com/office/officeart/2005/8/layout/chevron2"/>
    <dgm:cxn modelId="{3E45F168-84B9-420C-8C55-BF84E151D869}" type="presParOf" srcId="{D562BF02-1012-47B1-A3A7-070F7E5A8E50}" destId="{45678BF1-5550-4F1A-BD5E-EAE65631ECAF}" srcOrd="1" destOrd="0" presId="urn:microsoft.com/office/officeart/2005/8/layout/chevron2"/>
    <dgm:cxn modelId="{43BF4132-0509-4DF6-A2B5-E2C1E1A96762}" type="presParOf" srcId="{D562BF02-1012-47B1-A3A7-070F7E5A8E50}" destId="{6097BBDA-D227-46C2-843C-3582AAFE7A20}" srcOrd="2" destOrd="0" presId="urn:microsoft.com/office/officeart/2005/8/layout/chevron2"/>
    <dgm:cxn modelId="{8985AE97-9D3F-4ACF-BF44-A66B2146ED03}" type="presParOf" srcId="{6097BBDA-D227-46C2-843C-3582AAFE7A20}" destId="{28238B0B-B251-4D11-9FFC-861665409535}" srcOrd="0" destOrd="0" presId="urn:microsoft.com/office/officeart/2005/8/layout/chevron2"/>
    <dgm:cxn modelId="{6D156289-21DC-428E-A816-E58FD58A6470}" type="presParOf" srcId="{6097BBDA-D227-46C2-843C-3582AAFE7A20}" destId="{1C714012-CFD2-4D73-A7D4-8FE3E0BD3098}" srcOrd="1" destOrd="0" presId="urn:microsoft.com/office/officeart/2005/8/layout/chevron2"/>
    <dgm:cxn modelId="{332AAE1F-C98B-4C3A-A6AB-B50D7A3FAA9A}" type="presParOf" srcId="{D562BF02-1012-47B1-A3A7-070F7E5A8E50}" destId="{752F6E06-9560-4D64-A28B-34D82D378BFE}" srcOrd="3" destOrd="0" presId="urn:microsoft.com/office/officeart/2005/8/layout/chevron2"/>
    <dgm:cxn modelId="{C8E25775-8E17-417A-957D-41A13D6C3FD2}" type="presParOf" srcId="{D562BF02-1012-47B1-A3A7-070F7E5A8E50}" destId="{DE365B81-0055-4610-BFE6-58BA24B62DB9}" srcOrd="4" destOrd="0" presId="urn:microsoft.com/office/officeart/2005/8/layout/chevron2"/>
    <dgm:cxn modelId="{A3E7ACA7-4354-42DC-9764-E78C16BCAAC1}" type="presParOf" srcId="{DE365B81-0055-4610-BFE6-58BA24B62DB9}" destId="{7AEB83A7-56D2-48C9-A5F0-5AD8A376326F}" srcOrd="0" destOrd="0" presId="urn:microsoft.com/office/officeart/2005/8/layout/chevron2"/>
    <dgm:cxn modelId="{FB469B8B-A2AC-4833-8A04-BCCED58E2008}" type="presParOf" srcId="{DE365B81-0055-4610-BFE6-58BA24B62DB9}" destId="{3010D677-24F5-4621-9843-2520CFAC7F45}" srcOrd="1" destOrd="0" presId="urn:microsoft.com/office/officeart/2005/8/layout/chevron2"/>
    <dgm:cxn modelId="{69A15148-A6F3-4DB6-958E-826C313EB51B}" type="presParOf" srcId="{D562BF02-1012-47B1-A3A7-070F7E5A8E50}" destId="{A5EADB4F-7DF1-4F42-8872-844C37EEF16C}" srcOrd="5" destOrd="0" presId="urn:microsoft.com/office/officeart/2005/8/layout/chevron2"/>
    <dgm:cxn modelId="{96787FB1-920E-43BD-AA14-23792BEEABB7}" type="presParOf" srcId="{D562BF02-1012-47B1-A3A7-070F7E5A8E50}" destId="{166C82B4-571E-4D9B-85A0-F3088A92B4A5}" srcOrd="6" destOrd="0" presId="urn:microsoft.com/office/officeart/2005/8/layout/chevron2"/>
    <dgm:cxn modelId="{2587B777-6913-47DF-ADD7-336B9A8031B2}" type="presParOf" srcId="{166C82B4-571E-4D9B-85A0-F3088A92B4A5}" destId="{20A9D781-A829-4B7A-880D-157B0327C36F}" srcOrd="0" destOrd="0" presId="urn:microsoft.com/office/officeart/2005/8/layout/chevron2"/>
    <dgm:cxn modelId="{F3612E32-1F59-48D3-AB4D-5E64FC564526}" type="presParOf" srcId="{166C82B4-571E-4D9B-85A0-F3088A92B4A5}" destId="{BDDF3BA5-BC7F-4BD8-926D-56E367CAD9D1}" srcOrd="1" destOrd="0" presId="urn:microsoft.com/office/officeart/2005/8/layout/chevron2"/>
    <dgm:cxn modelId="{1D8EF1F1-5D3A-4BF6-93E5-E37FA14F4092}" type="presParOf" srcId="{D562BF02-1012-47B1-A3A7-070F7E5A8E50}" destId="{C224869E-9740-4C4A-B2D5-4A46AD509DAC}" srcOrd="7" destOrd="0" presId="urn:microsoft.com/office/officeart/2005/8/layout/chevron2"/>
    <dgm:cxn modelId="{766E2506-FB5D-40FF-9C6F-A50BC216BCE8}" type="presParOf" srcId="{D562BF02-1012-47B1-A3A7-070F7E5A8E50}" destId="{593ED597-73A7-4D03-BCA1-893F43AD882B}" srcOrd="8" destOrd="0" presId="urn:microsoft.com/office/officeart/2005/8/layout/chevron2"/>
    <dgm:cxn modelId="{6B00B459-9F47-4E55-A4EF-A62606264CFF}" type="presParOf" srcId="{593ED597-73A7-4D03-BCA1-893F43AD882B}" destId="{4C434DF2-1203-46EC-A736-8F3625C6A502}" srcOrd="0" destOrd="0" presId="urn:microsoft.com/office/officeart/2005/8/layout/chevron2"/>
    <dgm:cxn modelId="{2CB7CD1D-C9D0-4888-A532-3987007D80B8}" type="presParOf" srcId="{593ED597-73A7-4D03-BCA1-893F43AD882B}" destId="{5A5DA578-2228-485B-BADB-7E2C184A7120}" srcOrd="1" destOrd="0" presId="urn:microsoft.com/office/officeart/2005/8/layout/chevron2"/>
    <dgm:cxn modelId="{EFFD6E57-BE84-4150-B350-808BF2B0E23A}" type="presParOf" srcId="{D562BF02-1012-47B1-A3A7-070F7E5A8E50}" destId="{C44D1CE9-244A-47B9-B916-A5523428A8E3}" srcOrd="9" destOrd="0" presId="urn:microsoft.com/office/officeart/2005/8/layout/chevron2"/>
    <dgm:cxn modelId="{6CA6AD49-4221-405E-A92A-B69765A6BA39}" type="presParOf" srcId="{D562BF02-1012-47B1-A3A7-070F7E5A8E50}" destId="{8F627087-4735-4ECF-928E-8BA7B795607A}" srcOrd="10" destOrd="0" presId="urn:microsoft.com/office/officeart/2005/8/layout/chevron2"/>
    <dgm:cxn modelId="{843B57FE-3171-4726-B52D-CB933CC7F23D}" type="presParOf" srcId="{8F627087-4735-4ECF-928E-8BA7B795607A}" destId="{F6B5B8A1-61B2-45BB-987C-B24085693519}" srcOrd="0" destOrd="0" presId="urn:microsoft.com/office/officeart/2005/8/layout/chevron2"/>
    <dgm:cxn modelId="{50568B89-27C2-44B5-8822-FB9D87C7B01C}" type="presParOf" srcId="{8F627087-4735-4ECF-928E-8BA7B795607A}" destId="{640509E3-A0DB-4CD5-AE92-82BAC327E927}" srcOrd="1" destOrd="0" presId="urn:microsoft.com/office/officeart/2005/8/layout/chevron2"/>
    <dgm:cxn modelId="{40C01B18-A3EF-4EE0-8D22-2AE5B1CF8890}" type="presParOf" srcId="{D562BF02-1012-47B1-A3A7-070F7E5A8E50}" destId="{1160072C-ED7A-4F9D-8E05-82CD53AC0D25}" srcOrd="11" destOrd="0" presId="urn:microsoft.com/office/officeart/2005/8/layout/chevron2"/>
    <dgm:cxn modelId="{25BB7E02-4713-4BB2-A917-E3F198A1F7B4}" type="presParOf" srcId="{D562BF02-1012-47B1-A3A7-070F7E5A8E50}" destId="{2DC8A3E5-34CF-410E-9D2F-12A1D5740ABE}" srcOrd="12" destOrd="0" presId="urn:microsoft.com/office/officeart/2005/8/layout/chevron2"/>
    <dgm:cxn modelId="{727AA787-6D9D-4C56-A74D-D49F26955EDE}" type="presParOf" srcId="{2DC8A3E5-34CF-410E-9D2F-12A1D5740ABE}" destId="{8B56BED4-05AF-4434-B4BE-0D866387A51C}" srcOrd="0" destOrd="0" presId="urn:microsoft.com/office/officeart/2005/8/layout/chevron2"/>
    <dgm:cxn modelId="{543D06EA-66CA-46A6-AFA7-1B4B3A8B4D8E}" type="presParOf" srcId="{2DC8A3E5-34CF-410E-9D2F-12A1D5740ABE}" destId="{C241DC8A-B205-4547-BDDA-00A61A522508}" srcOrd="1" destOrd="0" presId="urn:microsoft.com/office/officeart/2005/8/layout/chevron2"/>
    <dgm:cxn modelId="{9E6FE5FF-C4EC-433C-BE87-B451843C1919}" type="presParOf" srcId="{D562BF02-1012-47B1-A3A7-070F7E5A8E50}" destId="{73C48AC6-58EA-4122-B148-7241037FD092}" srcOrd="13" destOrd="0" presId="urn:microsoft.com/office/officeart/2005/8/layout/chevron2"/>
    <dgm:cxn modelId="{0F2800AF-225D-481C-B6FB-91774F7C3ECF}" type="presParOf" srcId="{D562BF02-1012-47B1-A3A7-070F7E5A8E50}" destId="{C1F93DED-DAC1-4BBD-AACD-3E89E35382CE}" srcOrd="14" destOrd="0" presId="urn:microsoft.com/office/officeart/2005/8/layout/chevron2"/>
    <dgm:cxn modelId="{EC54319B-84A6-4F3F-914E-2D029434CF31}" type="presParOf" srcId="{C1F93DED-DAC1-4BBD-AACD-3E89E35382CE}" destId="{2E9BB5EC-5B8D-414F-90E0-571AE6250906}" srcOrd="0" destOrd="0" presId="urn:microsoft.com/office/officeart/2005/8/layout/chevron2"/>
    <dgm:cxn modelId="{8245E8EF-F44C-4A7F-B808-7D671A3BBF49}" type="presParOf" srcId="{C1F93DED-DAC1-4BBD-AACD-3E89E35382CE}" destId="{168F310A-6B86-4A44-856C-DB1815AF6EA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645655-7827-4BCD-9C8D-6D76206697EF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</dgm:pt>
    <dgm:pt modelId="{AC25B001-F586-403A-BB5C-C016C4CD50DB}">
      <dgm:prSet phldrT="[Text]" custT="1"/>
      <dgm:spPr/>
      <dgm:t>
        <a:bodyPr/>
        <a:lstStyle/>
        <a:p>
          <a:r>
            <a:rPr lang="en-US" sz="600" dirty="0"/>
            <a:t>Onboarding</a:t>
          </a:r>
          <a:endParaRPr lang="en-IN" sz="600" dirty="0"/>
        </a:p>
      </dgm:t>
    </dgm:pt>
    <dgm:pt modelId="{76CE337A-6853-4C5D-BDCF-33FCAFB024FF}" type="parTrans" cxnId="{AED2E592-01F8-45EB-9D6F-9181E20613BA}">
      <dgm:prSet/>
      <dgm:spPr/>
      <dgm:t>
        <a:bodyPr/>
        <a:lstStyle/>
        <a:p>
          <a:endParaRPr lang="en-IN" sz="800"/>
        </a:p>
      </dgm:t>
    </dgm:pt>
    <dgm:pt modelId="{3A5E9BD6-70DE-40CA-A9E8-8EEC6BF9D7D0}" type="sibTrans" cxnId="{AED2E592-01F8-45EB-9D6F-9181E20613BA}">
      <dgm:prSet/>
      <dgm:spPr/>
      <dgm:t>
        <a:bodyPr/>
        <a:lstStyle/>
        <a:p>
          <a:endParaRPr lang="en-IN" sz="800"/>
        </a:p>
      </dgm:t>
    </dgm:pt>
    <dgm:pt modelId="{DDB3CBB4-59AC-4CD6-A223-E69F03AFBC26}">
      <dgm:prSet phldrT="[Text]" custT="1"/>
      <dgm:spPr/>
      <dgm:t>
        <a:bodyPr/>
        <a:lstStyle/>
        <a:p>
          <a:r>
            <a:rPr lang="en-US" sz="700" dirty="0"/>
            <a:t>Induction</a:t>
          </a:r>
          <a:endParaRPr lang="en-IN" sz="700" dirty="0"/>
        </a:p>
      </dgm:t>
    </dgm:pt>
    <dgm:pt modelId="{6DF0DF50-6124-4196-AD09-4481E1921F80}" type="parTrans" cxnId="{4A6553A0-07E2-4F6A-92B3-AB8A64A030DB}">
      <dgm:prSet/>
      <dgm:spPr/>
      <dgm:t>
        <a:bodyPr/>
        <a:lstStyle/>
        <a:p>
          <a:endParaRPr lang="en-IN" sz="800"/>
        </a:p>
      </dgm:t>
    </dgm:pt>
    <dgm:pt modelId="{2AE3CDDF-79A4-4B66-A080-046BE3683405}" type="sibTrans" cxnId="{4A6553A0-07E2-4F6A-92B3-AB8A64A030DB}">
      <dgm:prSet/>
      <dgm:spPr/>
      <dgm:t>
        <a:bodyPr/>
        <a:lstStyle/>
        <a:p>
          <a:endParaRPr lang="en-IN" sz="800"/>
        </a:p>
      </dgm:t>
    </dgm:pt>
    <dgm:pt modelId="{EB48BD06-23BC-4486-9C04-772B41295B5B}">
      <dgm:prSet phldrT="[Text]" custT="1"/>
      <dgm:spPr/>
      <dgm:t>
        <a:bodyPr/>
        <a:lstStyle/>
        <a:p>
          <a:br>
            <a:rPr lang="en-US" sz="600" dirty="0"/>
          </a:br>
          <a:r>
            <a:rPr lang="en-US" sz="600" dirty="0"/>
            <a:t>Letter Request</a:t>
          </a:r>
          <a:endParaRPr lang="en-IN" sz="600" dirty="0"/>
        </a:p>
      </dgm:t>
    </dgm:pt>
    <dgm:pt modelId="{A429FD28-3E8B-41DA-8548-11319FE99E43}" type="parTrans" cxnId="{E5CDAF88-0AAF-4E12-94F3-40D54CE5E3F1}">
      <dgm:prSet/>
      <dgm:spPr/>
      <dgm:t>
        <a:bodyPr/>
        <a:lstStyle/>
        <a:p>
          <a:endParaRPr lang="en-IN" sz="800"/>
        </a:p>
      </dgm:t>
    </dgm:pt>
    <dgm:pt modelId="{706493BD-D5E8-4EDF-9F9D-71296519E4CA}" type="sibTrans" cxnId="{E5CDAF88-0AAF-4E12-94F3-40D54CE5E3F1}">
      <dgm:prSet/>
      <dgm:spPr/>
      <dgm:t>
        <a:bodyPr/>
        <a:lstStyle/>
        <a:p>
          <a:endParaRPr lang="en-IN" sz="800"/>
        </a:p>
      </dgm:t>
    </dgm:pt>
    <dgm:pt modelId="{24466988-B967-4C27-B5FB-926A4067DEF2}">
      <dgm:prSet phldrT="[Text]" custT="1"/>
      <dgm:spPr/>
      <dgm:t>
        <a:bodyPr/>
        <a:lstStyle/>
        <a:p>
          <a:r>
            <a:rPr lang="en-US" sz="600" dirty="0"/>
            <a:t>Transfers</a:t>
          </a:r>
          <a:endParaRPr lang="en-IN" sz="600" dirty="0"/>
        </a:p>
      </dgm:t>
    </dgm:pt>
    <dgm:pt modelId="{D6624743-3555-4DE4-9FAA-91BE700BDEBF}" type="parTrans" cxnId="{3820A788-747F-4B5C-9BCF-15CF42865EC1}">
      <dgm:prSet/>
      <dgm:spPr/>
      <dgm:t>
        <a:bodyPr/>
        <a:lstStyle/>
        <a:p>
          <a:endParaRPr lang="en-IN" sz="800"/>
        </a:p>
      </dgm:t>
    </dgm:pt>
    <dgm:pt modelId="{0929077B-AD3F-4FF1-AE90-6B294D258299}" type="sibTrans" cxnId="{3820A788-747F-4B5C-9BCF-15CF42865EC1}">
      <dgm:prSet/>
      <dgm:spPr/>
      <dgm:t>
        <a:bodyPr/>
        <a:lstStyle/>
        <a:p>
          <a:endParaRPr lang="en-IN" sz="800"/>
        </a:p>
      </dgm:t>
    </dgm:pt>
    <dgm:pt modelId="{5881B6EC-91E9-4D4F-83B9-E1090CCDCAF0}">
      <dgm:prSet phldrT="[Text]" custT="1"/>
      <dgm:spPr/>
      <dgm:t>
        <a:bodyPr/>
        <a:lstStyle/>
        <a:p>
          <a:br>
            <a:rPr lang="en-US" sz="600" dirty="0"/>
          </a:br>
          <a:r>
            <a:rPr lang="en-US" sz="600" dirty="0"/>
            <a:t>Profile Change</a:t>
          </a:r>
          <a:endParaRPr lang="en-IN" sz="600" dirty="0"/>
        </a:p>
      </dgm:t>
    </dgm:pt>
    <dgm:pt modelId="{88FD5DA2-C3B4-4F1B-8F9E-E57E048BF3D0}" type="parTrans" cxnId="{9CE1C364-375F-4DBB-A138-17D07B7AEB93}">
      <dgm:prSet/>
      <dgm:spPr/>
      <dgm:t>
        <a:bodyPr/>
        <a:lstStyle/>
        <a:p>
          <a:endParaRPr lang="en-IN" sz="800"/>
        </a:p>
      </dgm:t>
    </dgm:pt>
    <dgm:pt modelId="{57E89B39-C0E0-4D2D-AD12-23124F9F61DB}" type="sibTrans" cxnId="{9CE1C364-375F-4DBB-A138-17D07B7AEB93}">
      <dgm:prSet/>
      <dgm:spPr/>
      <dgm:t>
        <a:bodyPr/>
        <a:lstStyle/>
        <a:p>
          <a:endParaRPr lang="en-IN" sz="800"/>
        </a:p>
      </dgm:t>
    </dgm:pt>
    <dgm:pt modelId="{44B22FC9-3589-4D67-BA2A-A9C9F718D14D}">
      <dgm:prSet phldrT="[Text]" custT="1"/>
      <dgm:spPr/>
      <dgm:t>
        <a:bodyPr/>
        <a:lstStyle/>
        <a:p>
          <a:br>
            <a:rPr lang="en-US" sz="500" dirty="0"/>
          </a:br>
          <a:r>
            <a:rPr lang="en-US" sz="500" dirty="0"/>
            <a:t>Exit Management</a:t>
          </a:r>
          <a:endParaRPr lang="en-IN" sz="500" dirty="0"/>
        </a:p>
      </dgm:t>
    </dgm:pt>
    <dgm:pt modelId="{CEC13B11-467B-416E-9505-CDB93425CE60}" type="parTrans" cxnId="{B1B2D85F-384A-4865-BB92-341855F0793A}">
      <dgm:prSet/>
      <dgm:spPr/>
      <dgm:t>
        <a:bodyPr/>
        <a:lstStyle/>
        <a:p>
          <a:endParaRPr lang="en-IN" sz="800"/>
        </a:p>
      </dgm:t>
    </dgm:pt>
    <dgm:pt modelId="{7F27950E-BDEC-4A7C-A1C0-A8D4DA8BBC2D}" type="sibTrans" cxnId="{B1B2D85F-384A-4865-BB92-341855F0793A}">
      <dgm:prSet/>
      <dgm:spPr/>
      <dgm:t>
        <a:bodyPr/>
        <a:lstStyle/>
        <a:p>
          <a:endParaRPr lang="en-IN" sz="800"/>
        </a:p>
      </dgm:t>
    </dgm:pt>
    <dgm:pt modelId="{76C574D6-5B00-4C6C-9A6F-B62CA619F1E6}">
      <dgm:prSet phldrT="[Text]" custT="1"/>
      <dgm:spPr/>
      <dgm:t>
        <a:bodyPr/>
        <a:lstStyle/>
        <a:p>
          <a:r>
            <a:rPr lang="en-US" sz="600" dirty="0"/>
            <a:t>Insurance Management</a:t>
          </a:r>
          <a:endParaRPr lang="en-IN" sz="600" dirty="0"/>
        </a:p>
      </dgm:t>
    </dgm:pt>
    <dgm:pt modelId="{38234C1B-92D6-42B0-A319-7A38B09169EB}" type="parTrans" cxnId="{27A7889A-BC9B-4759-B7CA-9BC1361E8756}">
      <dgm:prSet/>
      <dgm:spPr/>
      <dgm:t>
        <a:bodyPr/>
        <a:lstStyle/>
        <a:p>
          <a:endParaRPr lang="en-IN" sz="800"/>
        </a:p>
      </dgm:t>
    </dgm:pt>
    <dgm:pt modelId="{A82D01D3-2DCD-4FDC-B496-CCB27C3164A1}" type="sibTrans" cxnId="{27A7889A-BC9B-4759-B7CA-9BC1361E8756}">
      <dgm:prSet/>
      <dgm:spPr/>
      <dgm:t>
        <a:bodyPr/>
        <a:lstStyle/>
        <a:p>
          <a:endParaRPr lang="en-IN" sz="800"/>
        </a:p>
      </dgm:t>
    </dgm:pt>
    <dgm:pt modelId="{5C9E15E0-680E-447E-80F6-523FA4447B91}">
      <dgm:prSet phldrT="[Text]" custT="1"/>
      <dgm:spPr/>
      <dgm:t>
        <a:bodyPr/>
        <a:lstStyle/>
        <a:p>
          <a:r>
            <a:rPr lang="en-US" sz="700" dirty="0"/>
            <a:t>Probation</a:t>
          </a:r>
          <a:endParaRPr lang="en-IN" sz="700" dirty="0"/>
        </a:p>
      </dgm:t>
    </dgm:pt>
    <dgm:pt modelId="{9457B91D-397B-4D79-AC03-A914EC2C826E}" type="parTrans" cxnId="{BC576FB4-6DD9-45B7-AD1F-9E8C357850C0}">
      <dgm:prSet/>
      <dgm:spPr/>
      <dgm:t>
        <a:bodyPr/>
        <a:lstStyle/>
        <a:p>
          <a:endParaRPr lang="en-IN" sz="800"/>
        </a:p>
      </dgm:t>
    </dgm:pt>
    <dgm:pt modelId="{BD5333F1-456A-4DB7-8436-764F84354F42}" type="sibTrans" cxnId="{BC576FB4-6DD9-45B7-AD1F-9E8C357850C0}">
      <dgm:prSet/>
      <dgm:spPr/>
      <dgm:t>
        <a:bodyPr/>
        <a:lstStyle/>
        <a:p>
          <a:endParaRPr lang="en-IN" sz="800"/>
        </a:p>
      </dgm:t>
    </dgm:pt>
    <dgm:pt modelId="{0584F6EE-6F59-47DB-A4B7-67BAFCED0906}">
      <dgm:prSet custT="1"/>
      <dgm:spPr/>
      <dgm:t>
        <a:bodyPr/>
        <a:lstStyle/>
        <a:p>
          <a:r>
            <a:rPr lang="en-US" sz="800" dirty="0"/>
            <a:t>Statutory declarations</a:t>
          </a:r>
          <a:endParaRPr lang="en-IN" sz="800" dirty="0"/>
        </a:p>
      </dgm:t>
    </dgm:pt>
    <dgm:pt modelId="{2B66B5FE-DB8E-4B3C-A335-DE412F509887}" type="parTrans" cxnId="{284041A9-5A70-4F53-9A34-555F02D99A21}">
      <dgm:prSet/>
      <dgm:spPr/>
      <dgm:t>
        <a:bodyPr/>
        <a:lstStyle/>
        <a:p>
          <a:endParaRPr lang="en-IN" sz="800"/>
        </a:p>
      </dgm:t>
    </dgm:pt>
    <dgm:pt modelId="{5FA27D4A-D277-40FF-BFD5-688353BCC56E}" type="sibTrans" cxnId="{284041A9-5A70-4F53-9A34-555F02D99A21}">
      <dgm:prSet/>
      <dgm:spPr/>
      <dgm:t>
        <a:bodyPr/>
        <a:lstStyle/>
        <a:p>
          <a:endParaRPr lang="en-IN" sz="800"/>
        </a:p>
      </dgm:t>
    </dgm:pt>
    <dgm:pt modelId="{D48E90C1-AEFC-444E-B284-81D8038D4D47}">
      <dgm:prSet custT="1"/>
      <dgm:spPr/>
      <dgm:t>
        <a:bodyPr/>
        <a:lstStyle/>
        <a:p>
          <a:endParaRPr lang="en-IN" sz="800" dirty="0"/>
        </a:p>
      </dgm:t>
    </dgm:pt>
    <dgm:pt modelId="{2756BC17-2906-4F0E-9C01-2900535DB20F}" type="parTrans" cxnId="{63E44C6A-6A23-4368-BCA7-92E86AA24AF4}">
      <dgm:prSet/>
      <dgm:spPr/>
      <dgm:t>
        <a:bodyPr/>
        <a:lstStyle/>
        <a:p>
          <a:endParaRPr lang="en-IN" sz="800"/>
        </a:p>
      </dgm:t>
    </dgm:pt>
    <dgm:pt modelId="{C37859EF-525D-4CF2-8137-E39DAB1DEDFC}" type="sibTrans" cxnId="{63E44C6A-6A23-4368-BCA7-92E86AA24AF4}">
      <dgm:prSet/>
      <dgm:spPr/>
      <dgm:t>
        <a:bodyPr/>
        <a:lstStyle/>
        <a:p>
          <a:endParaRPr lang="en-IN" sz="800"/>
        </a:p>
      </dgm:t>
    </dgm:pt>
    <dgm:pt modelId="{7CBBC6BB-1AA3-42BF-B541-C8D254610650}">
      <dgm:prSet phldrT="[Text]" custT="1"/>
      <dgm:spPr/>
      <dgm:t>
        <a:bodyPr/>
        <a:lstStyle/>
        <a:p>
          <a:r>
            <a:rPr lang="en-US" sz="800" dirty="0"/>
            <a:t>Tracking of completion</a:t>
          </a:r>
          <a:endParaRPr lang="en-IN" sz="800" dirty="0"/>
        </a:p>
      </dgm:t>
    </dgm:pt>
    <dgm:pt modelId="{BFE9BE39-3F23-40D3-9419-27433282D936}" type="parTrans" cxnId="{849353C9-506C-4A85-B57D-FBABF33FF974}">
      <dgm:prSet/>
      <dgm:spPr/>
      <dgm:t>
        <a:bodyPr/>
        <a:lstStyle/>
        <a:p>
          <a:endParaRPr lang="en-IN" sz="800"/>
        </a:p>
      </dgm:t>
    </dgm:pt>
    <dgm:pt modelId="{20641255-4CF0-4E8D-AD8F-9DC52A72C9EC}" type="sibTrans" cxnId="{849353C9-506C-4A85-B57D-FBABF33FF974}">
      <dgm:prSet/>
      <dgm:spPr/>
      <dgm:t>
        <a:bodyPr/>
        <a:lstStyle/>
        <a:p>
          <a:endParaRPr lang="en-IN" sz="800"/>
        </a:p>
      </dgm:t>
    </dgm:pt>
    <dgm:pt modelId="{D2BCBE42-96E3-4D15-81F7-D207B6B44921}">
      <dgm:prSet phldrT="[Text]" custT="1"/>
      <dgm:spPr/>
      <dgm:t>
        <a:bodyPr/>
        <a:lstStyle/>
        <a:p>
          <a:r>
            <a:rPr lang="en-US" sz="800" dirty="0"/>
            <a:t>Confirmation and Extension</a:t>
          </a:r>
          <a:endParaRPr lang="en-IN" sz="800" dirty="0"/>
        </a:p>
      </dgm:t>
    </dgm:pt>
    <dgm:pt modelId="{F130C941-2A9B-4C14-B602-C8FA49E0C5F6}" type="parTrans" cxnId="{1F7CA97A-8BCA-4080-A63C-FC5AD05E4863}">
      <dgm:prSet/>
      <dgm:spPr/>
      <dgm:t>
        <a:bodyPr/>
        <a:lstStyle/>
        <a:p>
          <a:endParaRPr lang="en-IN" sz="800"/>
        </a:p>
      </dgm:t>
    </dgm:pt>
    <dgm:pt modelId="{67BC560E-0F67-4A13-83D2-477C61483E2D}" type="sibTrans" cxnId="{1F7CA97A-8BCA-4080-A63C-FC5AD05E4863}">
      <dgm:prSet/>
      <dgm:spPr/>
      <dgm:t>
        <a:bodyPr/>
        <a:lstStyle/>
        <a:p>
          <a:endParaRPr lang="en-IN" sz="800"/>
        </a:p>
      </dgm:t>
    </dgm:pt>
    <dgm:pt modelId="{D381FF6A-7124-455C-A724-782747ED5EBC}">
      <dgm:prSet phldrT="[Text]" custT="1"/>
      <dgm:spPr/>
      <dgm:t>
        <a:bodyPr/>
        <a:lstStyle/>
        <a:p>
          <a:r>
            <a:rPr lang="en-US" sz="800" dirty="0"/>
            <a:t>PIP</a:t>
          </a:r>
          <a:endParaRPr lang="en-IN" sz="800" dirty="0"/>
        </a:p>
      </dgm:t>
    </dgm:pt>
    <dgm:pt modelId="{4B963471-3133-4D25-9936-D28182B007F2}" type="parTrans" cxnId="{9C8E953B-78B9-4DA2-9457-9D4640765B0D}">
      <dgm:prSet/>
      <dgm:spPr/>
      <dgm:t>
        <a:bodyPr/>
        <a:lstStyle/>
        <a:p>
          <a:endParaRPr lang="en-IN" sz="800"/>
        </a:p>
      </dgm:t>
    </dgm:pt>
    <dgm:pt modelId="{C8AD1008-7A11-42D6-A32F-0C72328FBD2A}" type="sibTrans" cxnId="{9C8E953B-78B9-4DA2-9457-9D4640765B0D}">
      <dgm:prSet/>
      <dgm:spPr/>
      <dgm:t>
        <a:bodyPr/>
        <a:lstStyle/>
        <a:p>
          <a:endParaRPr lang="en-IN" sz="800"/>
        </a:p>
      </dgm:t>
    </dgm:pt>
    <dgm:pt modelId="{6DD79AA1-EFAB-47CC-9606-0BDCD7407F4A}">
      <dgm:prSet phldrT="[Text]" custT="1"/>
      <dgm:spPr/>
      <dgm:t>
        <a:bodyPr/>
        <a:lstStyle/>
        <a:p>
          <a:r>
            <a:rPr lang="en-US" sz="800" dirty="0"/>
            <a:t>Employee initiated letter requests –Visa, Bonafide, Education / home / Vehicle Loan letter request</a:t>
          </a:r>
          <a:endParaRPr lang="en-IN" sz="800" dirty="0"/>
        </a:p>
      </dgm:t>
    </dgm:pt>
    <dgm:pt modelId="{F933B572-4A2A-4E33-96C8-D8164DA7AEA9}" type="parTrans" cxnId="{745782E7-1104-4469-A96B-7F8B2811D268}">
      <dgm:prSet/>
      <dgm:spPr/>
      <dgm:t>
        <a:bodyPr/>
        <a:lstStyle/>
        <a:p>
          <a:endParaRPr lang="en-IN" sz="800"/>
        </a:p>
      </dgm:t>
    </dgm:pt>
    <dgm:pt modelId="{B7E828F7-6D2D-424A-8F2B-66BAB862A56D}" type="sibTrans" cxnId="{745782E7-1104-4469-A96B-7F8B2811D268}">
      <dgm:prSet/>
      <dgm:spPr/>
      <dgm:t>
        <a:bodyPr/>
        <a:lstStyle/>
        <a:p>
          <a:endParaRPr lang="en-IN" sz="800"/>
        </a:p>
      </dgm:t>
    </dgm:pt>
    <dgm:pt modelId="{D44BD279-9043-4037-A639-2C8635D65FF5}">
      <dgm:prSet custT="1"/>
      <dgm:spPr/>
      <dgm:t>
        <a:bodyPr/>
        <a:lstStyle/>
        <a:p>
          <a:r>
            <a:rPr lang="en-US" sz="800" dirty="0"/>
            <a:t>Employee – inter and intra company transfer </a:t>
          </a:r>
          <a:endParaRPr lang="en-IN" sz="800" dirty="0"/>
        </a:p>
      </dgm:t>
    </dgm:pt>
    <dgm:pt modelId="{113A050B-3681-4294-B363-E2971E738CB2}" type="parTrans" cxnId="{DCD2BFE8-DB72-4DAA-A947-DF108669A2BB}">
      <dgm:prSet/>
      <dgm:spPr/>
      <dgm:t>
        <a:bodyPr/>
        <a:lstStyle/>
        <a:p>
          <a:endParaRPr lang="en-IN" sz="800"/>
        </a:p>
      </dgm:t>
    </dgm:pt>
    <dgm:pt modelId="{12ABB847-15CC-407E-AAC5-9AA246D3E31E}" type="sibTrans" cxnId="{DCD2BFE8-DB72-4DAA-A947-DF108669A2BB}">
      <dgm:prSet/>
      <dgm:spPr/>
      <dgm:t>
        <a:bodyPr/>
        <a:lstStyle/>
        <a:p>
          <a:endParaRPr lang="en-IN" sz="800"/>
        </a:p>
      </dgm:t>
    </dgm:pt>
    <dgm:pt modelId="{8937CC78-F6EF-4E95-AE00-279AAE7E0EB8}">
      <dgm:prSet custT="1"/>
      <dgm:spPr/>
      <dgm:t>
        <a:bodyPr/>
        <a:lstStyle/>
        <a:p>
          <a:r>
            <a:rPr lang="en-US" sz="800" dirty="0"/>
            <a:t>Short term deputation</a:t>
          </a:r>
          <a:endParaRPr lang="en-IN" sz="800" dirty="0"/>
        </a:p>
      </dgm:t>
    </dgm:pt>
    <dgm:pt modelId="{0296D98C-CEC6-4D6F-B5E2-CD9498F9FA83}" type="parTrans" cxnId="{2E117E80-26F9-4280-A5DB-BA5EA94452F0}">
      <dgm:prSet/>
      <dgm:spPr/>
      <dgm:t>
        <a:bodyPr/>
        <a:lstStyle/>
        <a:p>
          <a:endParaRPr lang="en-IN" sz="800"/>
        </a:p>
      </dgm:t>
    </dgm:pt>
    <dgm:pt modelId="{39F150B7-87A5-4F04-B497-899068C833F0}" type="sibTrans" cxnId="{2E117E80-26F9-4280-A5DB-BA5EA94452F0}">
      <dgm:prSet/>
      <dgm:spPr/>
      <dgm:t>
        <a:bodyPr/>
        <a:lstStyle/>
        <a:p>
          <a:endParaRPr lang="en-IN" sz="800"/>
        </a:p>
      </dgm:t>
    </dgm:pt>
    <dgm:pt modelId="{4CF736C5-98A4-4E40-A414-0807AA1E65A1}">
      <dgm:prSet custT="1"/>
      <dgm:spPr/>
      <dgm:t>
        <a:bodyPr/>
        <a:lstStyle/>
        <a:p>
          <a:r>
            <a:rPr lang="en-US" sz="800" dirty="0"/>
            <a:t>Employee profile attributes update</a:t>
          </a:r>
          <a:endParaRPr lang="en-IN" sz="800" dirty="0"/>
        </a:p>
      </dgm:t>
    </dgm:pt>
    <dgm:pt modelId="{6FAF7202-AB09-417E-A409-BEC0984D782A}" type="parTrans" cxnId="{A79BAFAC-2B8B-4591-8AFC-2FD27195A0CD}">
      <dgm:prSet/>
      <dgm:spPr/>
      <dgm:t>
        <a:bodyPr/>
        <a:lstStyle/>
        <a:p>
          <a:endParaRPr lang="en-IN" sz="800"/>
        </a:p>
      </dgm:t>
    </dgm:pt>
    <dgm:pt modelId="{6C7630EF-468D-43CB-8A8F-ECE43EE749CA}" type="sibTrans" cxnId="{A79BAFAC-2B8B-4591-8AFC-2FD27195A0CD}">
      <dgm:prSet/>
      <dgm:spPr/>
      <dgm:t>
        <a:bodyPr/>
        <a:lstStyle/>
        <a:p>
          <a:endParaRPr lang="en-IN" sz="800"/>
        </a:p>
      </dgm:t>
    </dgm:pt>
    <dgm:pt modelId="{3C93D7F8-0379-48E6-ADDE-A2EB94DA8790}">
      <dgm:prSet custT="1"/>
      <dgm:spPr/>
      <dgm:t>
        <a:bodyPr/>
        <a:lstStyle/>
        <a:p>
          <a:r>
            <a:rPr lang="en-US" sz="800" dirty="0"/>
            <a:t>Resignation Process</a:t>
          </a:r>
          <a:endParaRPr lang="en-IN" sz="800" dirty="0"/>
        </a:p>
      </dgm:t>
    </dgm:pt>
    <dgm:pt modelId="{F1A7DED9-9546-4A37-882D-D6D49CCD7EAE}" type="parTrans" cxnId="{F40BE03D-FF3A-461A-9BC4-EE17FAF4C535}">
      <dgm:prSet/>
      <dgm:spPr/>
      <dgm:t>
        <a:bodyPr/>
        <a:lstStyle/>
        <a:p>
          <a:endParaRPr lang="en-IN" sz="800"/>
        </a:p>
      </dgm:t>
    </dgm:pt>
    <dgm:pt modelId="{3C891465-4957-42E6-8F0B-D97D049C72E9}" type="sibTrans" cxnId="{F40BE03D-FF3A-461A-9BC4-EE17FAF4C535}">
      <dgm:prSet/>
      <dgm:spPr/>
      <dgm:t>
        <a:bodyPr/>
        <a:lstStyle/>
        <a:p>
          <a:endParaRPr lang="en-IN" sz="800"/>
        </a:p>
      </dgm:t>
    </dgm:pt>
    <dgm:pt modelId="{94411062-5732-4906-901D-2476BCE58A26}">
      <dgm:prSet custT="1"/>
      <dgm:spPr/>
      <dgm:t>
        <a:bodyPr/>
        <a:lstStyle/>
        <a:p>
          <a:r>
            <a:rPr lang="en-US" sz="800" dirty="0"/>
            <a:t>Comprehensive tracking of insurance coverage </a:t>
          </a:r>
          <a:endParaRPr lang="en-IN" sz="800" dirty="0"/>
        </a:p>
      </dgm:t>
    </dgm:pt>
    <dgm:pt modelId="{0353B0F6-E216-4896-BD91-30BF7F8B5A61}" type="parTrans" cxnId="{3BE9A70E-E8F9-4656-880B-2A1C4EBCFDC0}">
      <dgm:prSet/>
      <dgm:spPr/>
      <dgm:t>
        <a:bodyPr/>
        <a:lstStyle/>
        <a:p>
          <a:endParaRPr lang="en-IN" sz="800"/>
        </a:p>
      </dgm:t>
    </dgm:pt>
    <dgm:pt modelId="{621430C6-E679-45ED-A87B-38BE67FA06E3}" type="sibTrans" cxnId="{3BE9A70E-E8F9-4656-880B-2A1C4EBCFDC0}">
      <dgm:prSet/>
      <dgm:spPr/>
      <dgm:t>
        <a:bodyPr/>
        <a:lstStyle/>
        <a:p>
          <a:endParaRPr lang="en-IN" sz="800"/>
        </a:p>
      </dgm:t>
    </dgm:pt>
    <dgm:pt modelId="{9FB7EE33-4737-412D-9881-0C76840C3F53}">
      <dgm:prSet phldrT="[Text]" custT="1"/>
      <dgm:spPr/>
      <dgm:t>
        <a:bodyPr/>
        <a:lstStyle/>
        <a:p>
          <a:r>
            <a:rPr lang="en-US" sz="800" dirty="0"/>
            <a:t>Induction scheduling</a:t>
          </a:r>
          <a:endParaRPr lang="en-IN" sz="800" dirty="0"/>
        </a:p>
      </dgm:t>
    </dgm:pt>
    <dgm:pt modelId="{F5F9281D-203C-4633-BFC9-F00673F40CBF}" type="parTrans" cxnId="{4D966892-FCA0-448F-A781-8254CC5908F4}">
      <dgm:prSet/>
      <dgm:spPr/>
      <dgm:t>
        <a:bodyPr/>
        <a:lstStyle/>
        <a:p>
          <a:endParaRPr lang="en-IN" sz="800"/>
        </a:p>
      </dgm:t>
    </dgm:pt>
    <dgm:pt modelId="{6EE2C1D7-8748-4A86-91A1-8BCEDE1F4EAD}" type="sibTrans" cxnId="{4D966892-FCA0-448F-A781-8254CC5908F4}">
      <dgm:prSet/>
      <dgm:spPr/>
      <dgm:t>
        <a:bodyPr/>
        <a:lstStyle/>
        <a:p>
          <a:endParaRPr lang="en-IN" sz="800"/>
        </a:p>
      </dgm:t>
    </dgm:pt>
    <dgm:pt modelId="{07DA5113-8D72-4890-9E95-009B22580F44}">
      <dgm:prSet custT="1"/>
      <dgm:spPr/>
      <dgm:t>
        <a:bodyPr/>
        <a:lstStyle/>
        <a:p>
          <a:r>
            <a:rPr lang="en-US" sz="800" dirty="0"/>
            <a:t>No Due Clearance</a:t>
          </a:r>
          <a:endParaRPr lang="en-IN" sz="800" dirty="0"/>
        </a:p>
      </dgm:t>
    </dgm:pt>
    <dgm:pt modelId="{737B2E15-B9D3-45A1-AF9C-4C5AC51DACE2}" type="parTrans" cxnId="{9D2D1883-D7E5-4DC3-B612-9AB045A71809}">
      <dgm:prSet/>
      <dgm:spPr/>
      <dgm:t>
        <a:bodyPr/>
        <a:lstStyle/>
        <a:p>
          <a:endParaRPr lang="en-IN"/>
        </a:p>
      </dgm:t>
    </dgm:pt>
    <dgm:pt modelId="{05420DB0-3824-4765-BAD6-232A52C7C44E}" type="sibTrans" cxnId="{9D2D1883-D7E5-4DC3-B612-9AB045A71809}">
      <dgm:prSet/>
      <dgm:spPr/>
      <dgm:t>
        <a:bodyPr/>
        <a:lstStyle/>
        <a:p>
          <a:endParaRPr lang="en-IN"/>
        </a:p>
      </dgm:t>
    </dgm:pt>
    <dgm:pt modelId="{2DE5B656-EF39-4290-8CD3-1E70CD833A1F}">
      <dgm:prSet phldrT="[Text]" custT="1"/>
      <dgm:spPr/>
      <dgm:t>
        <a:bodyPr/>
        <a:lstStyle/>
        <a:p>
          <a:r>
            <a:rPr lang="en-US" sz="800" dirty="0"/>
            <a:t>Availability of letters for download in web &amp; Mobile channels post approval</a:t>
          </a:r>
          <a:endParaRPr lang="en-IN" sz="800" dirty="0"/>
        </a:p>
      </dgm:t>
    </dgm:pt>
    <dgm:pt modelId="{86CBA611-AF8D-4DEB-B8EF-C6F8B6A1A304}" type="parTrans" cxnId="{5C3BE868-D3F5-46FB-92A9-3354922F4D88}">
      <dgm:prSet/>
      <dgm:spPr/>
      <dgm:t>
        <a:bodyPr/>
        <a:lstStyle/>
        <a:p>
          <a:endParaRPr lang="en-IN"/>
        </a:p>
      </dgm:t>
    </dgm:pt>
    <dgm:pt modelId="{AFF7D791-51C3-4C5D-B388-20CCC231A1ED}" type="sibTrans" cxnId="{5C3BE868-D3F5-46FB-92A9-3354922F4D88}">
      <dgm:prSet/>
      <dgm:spPr/>
      <dgm:t>
        <a:bodyPr/>
        <a:lstStyle/>
        <a:p>
          <a:endParaRPr lang="en-IN"/>
        </a:p>
      </dgm:t>
    </dgm:pt>
    <dgm:pt modelId="{BFDC8F6C-6F96-4892-9899-8460EBC9B3FC}">
      <dgm:prSet custT="1"/>
      <dgm:spPr/>
      <dgm:t>
        <a:bodyPr/>
        <a:lstStyle/>
        <a:p>
          <a:endParaRPr lang="en-IN" sz="800" dirty="0"/>
        </a:p>
      </dgm:t>
    </dgm:pt>
    <dgm:pt modelId="{6DF197F0-8647-49AD-BAED-1D03444DEBA2}" type="parTrans" cxnId="{F15EF730-970A-4F87-A55B-BF607AFFA2C4}">
      <dgm:prSet/>
      <dgm:spPr/>
      <dgm:t>
        <a:bodyPr/>
        <a:lstStyle/>
        <a:p>
          <a:endParaRPr lang="en-IN"/>
        </a:p>
      </dgm:t>
    </dgm:pt>
    <dgm:pt modelId="{F8347B63-ABD9-4D1C-8E25-57A0F3E58103}" type="sibTrans" cxnId="{F15EF730-970A-4F87-A55B-BF607AFFA2C4}">
      <dgm:prSet/>
      <dgm:spPr/>
      <dgm:t>
        <a:bodyPr/>
        <a:lstStyle/>
        <a:p>
          <a:endParaRPr lang="en-IN"/>
        </a:p>
      </dgm:t>
    </dgm:pt>
    <dgm:pt modelId="{D9C3502A-96C6-4C94-8C27-F5050692C790}">
      <dgm:prSet custT="1"/>
      <dgm:spPr/>
      <dgm:t>
        <a:bodyPr/>
        <a:lstStyle/>
        <a:p>
          <a:r>
            <a:rPr lang="en-US" sz="800" dirty="0"/>
            <a:t>Employee Code creation</a:t>
          </a:r>
          <a:endParaRPr lang="en-IN" sz="800" dirty="0"/>
        </a:p>
      </dgm:t>
    </dgm:pt>
    <dgm:pt modelId="{37760D04-9492-4175-BC7D-699D3DAD6345}" type="parTrans" cxnId="{2A8D0B11-D6BC-4FB9-8FE3-EA1806013D68}">
      <dgm:prSet/>
      <dgm:spPr/>
      <dgm:t>
        <a:bodyPr/>
        <a:lstStyle/>
        <a:p>
          <a:endParaRPr lang="en-IN"/>
        </a:p>
      </dgm:t>
    </dgm:pt>
    <dgm:pt modelId="{998EC2A2-6C5F-41EA-9914-DE60E872CCC2}" type="sibTrans" cxnId="{2A8D0B11-D6BC-4FB9-8FE3-EA1806013D68}">
      <dgm:prSet/>
      <dgm:spPr/>
      <dgm:t>
        <a:bodyPr/>
        <a:lstStyle/>
        <a:p>
          <a:endParaRPr lang="en-IN"/>
        </a:p>
      </dgm:t>
    </dgm:pt>
    <dgm:pt modelId="{70281385-E478-4584-9471-E3E44F01B986}">
      <dgm:prSet custT="1"/>
      <dgm:spPr/>
      <dgm:t>
        <a:bodyPr/>
        <a:lstStyle/>
        <a:p>
          <a:r>
            <a:rPr lang="en-US" sz="800" dirty="0"/>
            <a:t>Secondary BGV</a:t>
          </a:r>
          <a:endParaRPr lang="en-IN" sz="800" dirty="0"/>
        </a:p>
      </dgm:t>
    </dgm:pt>
    <dgm:pt modelId="{F092E7F4-9B3A-41B7-ADDF-139BDEED343F}" type="parTrans" cxnId="{A7ED2ADF-A38D-48D5-B95A-C338E5DE560A}">
      <dgm:prSet/>
      <dgm:spPr/>
      <dgm:t>
        <a:bodyPr/>
        <a:lstStyle/>
        <a:p>
          <a:endParaRPr lang="en-IN"/>
        </a:p>
      </dgm:t>
    </dgm:pt>
    <dgm:pt modelId="{6143D470-8C42-46C1-A38E-0325880323EC}" type="sibTrans" cxnId="{A7ED2ADF-A38D-48D5-B95A-C338E5DE560A}">
      <dgm:prSet/>
      <dgm:spPr/>
      <dgm:t>
        <a:bodyPr/>
        <a:lstStyle/>
        <a:p>
          <a:endParaRPr lang="en-IN"/>
        </a:p>
      </dgm:t>
    </dgm:pt>
    <dgm:pt modelId="{09EF57AD-76E5-4DBC-B668-01C5E29C0608}">
      <dgm:prSet phldrT="[Text]" custT="1"/>
      <dgm:spPr/>
      <dgm:t>
        <a:bodyPr/>
        <a:lstStyle/>
        <a:p>
          <a:r>
            <a:rPr lang="en-US" sz="800" dirty="0"/>
            <a:t>Trigger to Exit Management</a:t>
          </a:r>
          <a:endParaRPr lang="en-IN" sz="800" dirty="0"/>
        </a:p>
      </dgm:t>
    </dgm:pt>
    <dgm:pt modelId="{F22823AB-6AC2-4D1F-92F5-3876D3BA5E02}" type="parTrans" cxnId="{91600C7C-A4EF-4AF7-8B84-FACD83B81DE6}">
      <dgm:prSet/>
      <dgm:spPr/>
      <dgm:t>
        <a:bodyPr/>
        <a:lstStyle/>
        <a:p>
          <a:endParaRPr lang="en-IN"/>
        </a:p>
      </dgm:t>
    </dgm:pt>
    <dgm:pt modelId="{3D9BDEF6-60D7-406D-946B-BC80444B2995}" type="sibTrans" cxnId="{91600C7C-A4EF-4AF7-8B84-FACD83B81DE6}">
      <dgm:prSet/>
      <dgm:spPr/>
      <dgm:t>
        <a:bodyPr/>
        <a:lstStyle/>
        <a:p>
          <a:endParaRPr lang="en-IN"/>
        </a:p>
      </dgm:t>
    </dgm:pt>
    <dgm:pt modelId="{DCAB0424-C6D0-42CD-82D3-C3E1C5F39F23}">
      <dgm:prSet custT="1"/>
      <dgm:spPr/>
      <dgm:t>
        <a:bodyPr/>
        <a:lstStyle/>
        <a:p>
          <a:r>
            <a:rPr lang="en-US" sz="800" dirty="0"/>
            <a:t>Relieving &amp; experience letter</a:t>
          </a:r>
          <a:endParaRPr lang="en-IN" sz="800" dirty="0"/>
        </a:p>
      </dgm:t>
    </dgm:pt>
    <dgm:pt modelId="{071D7579-F46D-4EE3-ABFF-8251676B2C9C}" type="parTrans" cxnId="{0327B791-ADCF-4BBC-B756-AA940FF7713A}">
      <dgm:prSet/>
      <dgm:spPr/>
      <dgm:t>
        <a:bodyPr/>
        <a:lstStyle/>
        <a:p>
          <a:endParaRPr lang="en-IN"/>
        </a:p>
      </dgm:t>
    </dgm:pt>
    <dgm:pt modelId="{959E7E5C-B591-4F1A-B2FA-0F777D91EDE6}" type="sibTrans" cxnId="{0327B791-ADCF-4BBC-B756-AA940FF7713A}">
      <dgm:prSet/>
      <dgm:spPr/>
      <dgm:t>
        <a:bodyPr/>
        <a:lstStyle/>
        <a:p>
          <a:endParaRPr lang="en-IN"/>
        </a:p>
      </dgm:t>
    </dgm:pt>
    <dgm:pt modelId="{CF536E8B-96D9-4B5E-B731-8E68BA7EDB04}">
      <dgm:prSet custT="1"/>
      <dgm:spPr/>
      <dgm:t>
        <a:bodyPr/>
        <a:lstStyle/>
        <a:p>
          <a:r>
            <a:rPr lang="en-US" sz="800" dirty="0"/>
            <a:t>Insurance Top-up</a:t>
          </a:r>
          <a:endParaRPr lang="en-IN" sz="800" dirty="0"/>
        </a:p>
      </dgm:t>
    </dgm:pt>
    <dgm:pt modelId="{336EA364-A2DC-4FB5-A240-D012B0845FEB}" type="parTrans" cxnId="{E3B994DF-F03A-4646-8388-5383D2F22899}">
      <dgm:prSet/>
      <dgm:spPr/>
      <dgm:t>
        <a:bodyPr/>
        <a:lstStyle/>
        <a:p>
          <a:endParaRPr lang="en-IN"/>
        </a:p>
      </dgm:t>
    </dgm:pt>
    <dgm:pt modelId="{F0754C5B-C96F-4183-9D2C-C8717FCE187D}" type="sibTrans" cxnId="{E3B994DF-F03A-4646-8388-5383D2F22899}">
      <dgm:prSet/>
      <dgm:spPr/>
      <dgm:t>
        <a:bodyPr/>
        <a:lstStyle/>
        <a:p>
          <a:endParaRPr lang="en-IN"/>
        </a:p>
      </dgm:t>
    </dgm:pt>
    <dgm:pt modelId="{D562BF02-1012-47B1-A3A7-070F7E5A8E50}" type="pres">
      <dgm:prSet presAssocID="{F5645655-7827-4BCD-9C8D-6D76206697EF}" presName="linearFlow" presStyleCnt="0">
        <dgm:presLayoutVars>
          <dgm:dir/>
          <dgm:animLvl val="lvl"/>
          <dgm:resizeHandles val="exact"/>
        </dgm:presLayoutVars>
      </dgm:prSet>
      <dgm:spPr/>
    </dgm:pt>
    <dgm:pt modelId="{D9A459EB-0CE6-4476-878C-1C2B6639BD79}" type="pres">
      <dgm:prSet presAssocID="{AC25B001-F586-403A-BB5C-C016C4CD50DB}" presName="composite" presStyleCnt="0"/>
      <dgm:spPr/>
    </dgm:pt>
    <dgm:pt modelId="{C9B4F4DF-CC93-4634-B413-E7C2EC051F40}" type="pres">
      <dgm:prSet presAssocID="{AC25B001-F586-403A-BB5C-C016C4CD50DB}" presName="parentText" presStyleLbl="alignNode1" presStyleIdx="0" presStyleCnt="8" custScaleX="110000" custLinFactNeighborY="0">
        <dgm:presLayoutVars>
          <dgm:chMax val="1"/>
          <dgm:bulletEnabled val="1"/>
        </dgm:presLayoutVars>
      </dgm:prSet>
      <dgm:spPr/>
    </dgm:pt>
    <dgm:pt modelId="{0C9FB1E9-8B01-4B29-8D21-2CC53D06ECAE}" type="pres">
      <dgm:prSet presAssocID="{AC25B001-F586-403A-BB5C-C016C4CD50DB}" presName="descendantText" presStyleLbl="alignAcc1" presStyleIdx="0" presStyleCnt="8" custScaleX="96756" custLinFactNeighborX="-9" custLinFactNeighborY="12277">
        <dgm:presLayoutVars>
          <dgm:bulletEnabled val="1"/>
        </dgm:presLayoutVars>
      </dgm:prSet>
      <dgm:spPr/>
    </dgm:pt>
    <dgm:pt modelId="{45678BF1-5550-4F1A-BD5E-EAE65631ECAF}" type="pres">
      <dgm:prSet presAssocID="{3A5E9BD6-70DE-40CA-A9E8-8EEC6BF9D7D0}" presName="sp" presStyleCnt="0"/>
      <dgm:spPr/>
    </dgm:pt>
    <dgm:pt modelId="{6097BBDA-D227-46C2-843C-3582AAFE7A20}" type="pres">
      <dgm:prSet presAssocID="{DDB3CBB4-59AC-4CD6-A223-E69F03AFBC26}" presName="composite" presStyleCnt="0"/>
      <dgm:spPr/>
    </dgm:pt>
    <dgm:pt modelId="{28238B0B-B251-4D11-9FFC-861665409535}" type="pres">
      <dgm:prSet presAssocID="{DDB3CBB4-59AC-4CD6-A223-E69F03AFBC26}" presName="parentText" presStyleLbl="alignNode1" presStyleIdx="1" presStyleCnt="8" custScaleX="110000" custLinFactNeighborY="0">
        <dgm:presLayoutVars>
          <dgm:chMax val="1"/>
          <dgm:bulletEnabled val="1"/>
        </dgm:presLayoutVars>
      </dgm:prSet>
      <dgm:spPr/>
    </dgm:pt>
    <dgm:pt modelId="{1C714012-CFD2-4D73-A7D4-8FE3E0BD3098}" type="pres">
      <dgm:prSet presAssocID="{DDB3CBB4-59AC-4CD6-A223-E69F03AFBC26}" presName="descendantText" presStyleLbl="alignAcc1" presStyleIdx="1" presStyleCnt="8" custScaleX="96756" custLinFactNeighborY="7368">
        <dgm:presLayoutVars>
          <dgm:bulletEnabled val="1"/>
        </dgm:presLayoutVars>
      </dgm:prSet>
      <dgm:spPr/>
    </dgm:pt>
    <dgm:pt modelId="{752F6E06-9560-4D64-A28B-34D82D378BFE}" type="pres">
      <dgm:prSet presAssocID="{2AE3CDDF-79A4-4B66-A080-046BE3683405}" presName="sp" presStyleCnt="0"/>
      <dgm:spPr/>
    </dgm:pt>
    <dgm:pt modelId="{DE365B81-0055-4610-BFE6-58BA24B62DB9}" type="pres">
      <dgm:prSet presAssocID="{5C9E15E0-680E-447E-80F6-523FA4447B91}" presName="composite" presStyleCnt="0"/>
      <dgm:spPr/>
    </dgm:pt>
    <dgm:pt modelId="{7AEB83A7-56D2-48C9-A5F0-5AD8A376326F}" type="pres">
      <dgm:prSet presAssocID="{5C9E15E0-680E-447E-80F6-523FA4447B91}" presName="parentText" presStyleLbl="alignNode1" presStyleIdx="2" presStyleCnt="8" custScaleX="110000" custLinFactNeighborY="0">
        <dgm:presLayoutVars>
          <dgm:chMax val="1"/>
          <dgm:bulletEnabled val="1"/>
        </dgm:presLayoutVars>
      </dgm:prSet>
      <dgm:spPr/>
    </dgm:pt>
    <dgm:pt modelId="{3010D677-24F5-4621-9843-2520CFAC7F45}" type="pres">
      <dgm:prSet presAssocID="{5C9E15E0-680E-447E-80F6-523FA4447B91}" presName="descendantText" presStyleLbl="alignAcc1" presStyleIdx="2" presStyleCnt="8" custScaleX="96756" custLinFactNeighborY="7368">
        <dgm:presLayoutVars>
          <dgm:bulletEnabled val="1"/>
        </dgm:presLayoutVars>
      </dgm:prSet>
      <dgm:spPr/>
    </dgm:pt>
    <dgm:pt modelId="{A5EADB4F-7DF1-4F42-8872-844C37EEF16C}" type="pres">
      <dgm:prSet presAssocID="{BD5333F1-456A-4DB7-8436-764F84354F42}" presName="sp" presStyleCnt="0"/>
      <dgm:spPr/>
    </dgm:pt>
    <dgm:pt modelId="{166C82B4-571E-4D9B-85A0-F3088A92B4A5}" type="pres">
      <dgm:prSet presAssocID="{EB48BD06-23BC-4486-9C04-772B41295B5B}" presName="composite" presStyleCnt="0"/>
      <dgm:spPr/>
    </dgm:pt>
    <dgm:pt modelId="{20A9D781-A829-4B7A-880D-157B0327C36F}" type="pres">
      <dgm:prSet presAssocID="{EB48BD06-23BC-4486-9C04-772B41295B5B}" presName="parentText" presStyleLbl="alignNode1" presStyleIdx="3" presStyleCnt="8" custScaleX="110000" custLinFactNeighborY="0">
        <dgm:presLayoutVars>
          <dgm:chMax val="1"/>
          <dgm:bulletEnabled val="1"/>
        </dgm:presLayoutVars>
      </dgm:prSet>
      <dgm:spPr/>
    </dgm:pt>
    <dgm:pt modelId="{BDDF3BA5-BC7F-4BD8-926D-56E367CAD9D1}" type="pres">
      <dgm:prSet presAssocID="{EB48BD06-23BC-4486-9C04-772B41295B5B}" presName="descendantText" presStyleLbl="alignAcc1" presStyleIdx="3" presStyleCnt="8" custScaleX="96756" custLinFactNeighborY="7362">
        <dgm:presLayoutVars>
          <dgm:bulletEnabled val="1"/>
        </dgm:presLayoutVars>
      </dgm:prSet>
      <dgm:spPr/>
    </dgm:pt>
    <dgm:pt modelId="{C224869E-9740-4C4A-B2D5-4A46AD509DAC}" type="pres">
      <dgm:prSet presAssocID="{706493BD-D5E8-4EDF-9F9D-71296519E4CA}" presName="sp" presStyleCnt="0"/>
      <dgm:spPr/>
    </dgm:pt>
    <dgm:pt modelId="{593ED597-73A7-4D03-BCA1-893F43AD882B}" type="pres">
      <dgm:prSet presAssocID="{24466988-B967-4C27-B5FB-926A4067DEF2}" presName="composite" presStyleCnt="0"/>
      <dgm:spPr/>
    </dgm:pt>
    <dgm:pt modelId="{4C434DF2-1203-46EC-A736-8F3625C6A502}" type="pres">
      <dgm:prSet presAssocID="{24466988-B967-4C27-B5FB-926A4067DEF2}" presName="parentText" presStyleLbl="alignNode1" presStyleIdx="4" presStyleCnt="8" custScaleX="110000" custLinFactNeighborY="0">
        <dgm:presLayoutVars>
          <dgm:chMax val="1"/>
          <dgm:bulletEnabled val="1"/>
        </dgm:presLayoutVars>
      </dgm:prSet>
      <dgm:spPr/>
    </dgm:pt>
    <dgm:pt modelId="{5A5DA578-2228-485B-BADB-7E2C184A7120}" type="pres">
      <dgm:prSet presAssocID="{24466988-B967-4C27-B5FB-926A4067DEF2}" presName="descendantText" presStyleLbl="alignAcc1" presStyleIdx="4" presStyleCnt="8" custScaleX="96756" custLinFactNeighborY="7368">
        <dgm:presLayoutVars>
          <dgm:bulletEnabled val="1"/>
        </dgm:presLayoutVars>
      </dgm:prSet>
      <dgm:spPr/>
    </dgm:pt>
    <dgm:pt modelId="{C44D1CE9-244A-47B9-B916-A5523428A8E3}" type="pres">
      <dgm:prSet presAssocID="{0929077B-AD3F-4FF1-AE90-6B294D258299}" presName="sp" presStyleCnt="0"/>
      <dgm:spPr/>
    </dgm:pt>
    <dgm:pt modelId="{8F627087-4735-4ECF-928E-8BA7B795607A}" type="pres">
      <dgm:prSet presAssocID="{5881B6EC-91E9-4D4F-83B9-E1090CCDCAF0}" presName="composite" presStyleCnt="0"/>
      <dgm:spPr/>
    </dgm:pt>
    <dgm:pt modelId="{F6B5B8A1-61B2-45BB-987C-B24085693519}" type="pres">
      <dgm:prSet presAssocID="{5881B6EC-91E9-4D4F-83B9-E1090CCDCAF0}" presName="parentText" presStyleLbl="alignNode1" presStyleIdx="5" presStyleCnt="8" custScaleX="110000" custLinFactNeighborY="0">
        <dgm:presLayoutVars>
          <dgm:chMax val="1"/>
          <dgm:bulletEnabled val="1"/>
        </dgm:presLayoutVars>
      </dgm:prSet>
      <dgm:spPr/>
    </dgm:pt>
    <dgm:pt modelId="{640509E3-A0DB-4CD5-AE92-82BAC327E927}" type="pres">
      <dgm:prSet presAssocID="{5881B6EC-91E9-4D4F-83B9-E1090CCDCAF0}" presName="descendantText" presStyleLbl="alignAcc1" presStyleIdx="5" presStyleCnt="8" custScaleX="96756" custLinFactNeighborY="7368">
        <dgm:presLayoutVars>
          <dgm:bulletEnabled val="1"/>
        </dgm:presLayoutVars>
      </dgm:prSet>
      <dgm:spPr/>
    </dgm:pt>
    <dgm:pt modelId="{1160072C-ED7A-4F9D-8E05-82CD53AC0D25}" type="pres">
      <dgm:prSet presAssocID="{57E89B39-C0E0-4D2D-AD12-23124F9F61DB}" presName="sp" presStyleCnt="0"/>
      <dgm:spPr/>
    </dgm:pt>
    <dgm:pt modelId="{2DC8A3E5-34CF-410E-9D2F-12A1D5740ABE}" type="pres">
      <dgm:prSet presAssocID="{44B22FC9-3589-4D67-BA2A-A9C9F718D14D}" presName="composite" presStyleCnt="0"/>
      <dgm:spPr/>
    </dgm:pt>
    <dgm:pt modelId="{8B56BED4-05AF-4434-B4BE-0D866387A51C}" type="pres">
      <dgm:prSet presAssocID="{44B22FC9-3589-4D67-BA2A-A9C9F718D14D}" presName="parentText" presStyleLbl="alignNode1" presStyleIdx="6" presStyleCnt="8" custScaleX="110000" custLinFactNeighborY="0">
        <dgm:presLayoutVars>
          <dgm:chMax val="1"/>
          <dgm:bulletEnabled val="1"/>
        </dgm:presLayoutVars>
      </dgm:prSet>
      <dgm:spPr/>
    </dgm:pt>
    <dgm:pt modelId="{C241DC8A-B205-4547-BDDA-00A61A522508}" type="pres">
      <dgm:prSet presAssocID="{44B22FC9-3589-4D67-BA2A-A9C9F718D14D}" presName="descendantText" presStyleLbl="alignAcc1" presStyleIdx="6" presStyleCnt="8" custScaleX="96756" custLinFactNeighborY="4911">
        <dgm:presLayoutVars>
          <dgm:bulletEnabled val="1"/>
        </dgm:presLayoutVars>
      </dgm:prSet>
      <dgm:spPr/>
    </dgm:pt>
    <dgm:pt modelId="{73C48AC6-58EA-4122-B148-7241037FD092}" type="pres">
      <dgm:prSet presAssocID="{7F27950E-BDEC-4A7C-A1C0-A8D4DA8BBC2D}" presName="sp" presStyleCnt="0"/>
      <dgm:spPr/>
    </dgm:pt>
    <dgm:pt modelId="{C1F93DED-DAC1-4BBD-AACD-3E89E35382CE}" type="pres">
      <dgm:prSet presAssocID="{76C574D6-5B00-4C6C-9A6F-B62CA619F1E6}" presName="composite" presStyleCnt="0"/>
      <dgm:spPr/>
    </dgm:pt>
    <dgm:pt modelId="{2E9BB5EC-5B8D-414F-90E0-571AE6250906}" type="pres">
      <dgm:prSet presAssocID="{76C574D6-5B00-4C6C-9A6F-B62CA619F1E6}" presName="parentText" presStyleLbl="alignNode1" presStyleIdx="7" presStyleCnt="8" custScaleX="110000" custLinFactNeighborY="0">
        <dgm:presLayoutVars>
          <dgm:chMax val="1"/>
          <dgm:bulletEnabled val="1"/>
        </dgm:presLayoutVars>
      </dgm:prSet>
      <dgm:spPr/>
    </dgm:pt>
    <dgm:pt modelId="{168F310A-6B86-4A44-856C-DB1815AF6EAE}" type="pres">
      <dgm:prSet presAssocID="{76C574D6-5B00-4C6C-9A6F-B62CA619F1E6}" presName="descendantText" presStyleLbl="alignAcc1" presStyleIdx="7" presStyleCnt="8" custScaleX="96756" custLinFactNeighborX="73" custLinFactNeighborY="13505">
        <dgm:presLayoutVars>
          <dgm:bulletEnabled val="1"/>
        </dgm:presLayoutVars>
      </dgm:prSet>
      <dgm:spPr/>
    </dgm:pt>
  </dgm:ptLst>
  <dgm:cxnLst>
    <dgm:cxn modelId="{8CF53005-76DD-4E61-B685-FDA028936931}" type="presOf" srcId="{4CF736C5-98A4-4E40-A414-0807AA1E65A1}" destId="{640509E3-A0DB-4CD5-AE92-82BAC327E927}" srcOrd="0" destOrd="0" presId="urn:microsoft.com/office/officeart/2005/8/layout/chevron2"/>
    <dgm:cxn modelId="{A2741F08-D96A-4481-AF31-6ADA0DC652E8}" type="presOf" srcId="{94411062-5732-4906-901D-2476BCE58A26}" destId="{168F310A-6B86-4A44-856C-DB1815AF6EAE}" srcOrd="0" destOrd="0" presId="urn:microsoft.com/office/officeart/2005/8/layout/chevron2"/>
    <dgm:cxn modelId="{71F4910D-D301-40C6-BF67-5CA7A3F45C4A}" type="presOf" srcId="{D48E90C1-AEFC-444E-B284-81D8038D4D47}" destId="{0C9FB1E9-8B01-4B29-8D21-2CC53D06ECAE}" srcOrd="0" destOrd="4" presId="urn:microsoft.com/office/officeart/2005/8/layout/chevron2"/>
    <dgm:cxn modelId="{3BE9A70E-E8F9-4656-880B-2A1C4EBCFDC0}" srcId="{76C574D6-5B00-4C6C-9A6F-B62CA619F1E6}" destId="{94411062-5732-4906-901D-2476BCE58A26}" srcOrd="0" destOrd="0" parTransId="{0353B0F6-E216-4896-BD91-30BF7F8B5A61}" sibTransId="{621430C6-E679-45ED-A87B-38BE67FA06E3}"/>
    <dgm:cxn modelId="{3625BD0E-58D8-472D-88DD-CA05A418AA1D}" type="presOf" srcId="{BFDC8F6C-6F96-4892-9899-8460EBC9B3FC}" destId="{0C9FB1E9-8B01-4B29-8D21-2CC53D06ECAE}" srcOrd="0" destOrd="0" presId="urn:microsoft.com/office/officeart/2005/8/layout/chevron2"/>
    <dgm:cxn modelId="{2A8D0B11-D6BC-4FB9-8FE3-EA1806013D68}" srcId="{AC25B001-F586-403A-BB5C-C016C4CD50DB}" destId="{D9C3502A-96C6-4C94-8C27-F5050692C790}" srcOrd="2" destOrd="0" parTransId="{37760D04-9492-4175-BC7D-699D3DAD6345}" sibTransId="{998EC2A2-6C5F-41EA-9914-DE60E872CCC2}"/>
    <dgm:cxn modelId="{9BAC2B15-01B4-430A-8793-CEC041B0B83B}" type="presOf" srcId="{24466988-B967-4C27-B5FB-926A4067DEF2}" destId="{4C434DF2-1203-46EC-A736-8F3625C6A502}" srcOrd="0" destOrd="0" presId="urn:microsoft.com/office/officeart/2005/8/layout/chevron2"/>
    <dgm:cxn modelId="{657F0316-7D44-4C95-A613-FFA8F0E8A846}" type="presOf" srcId="{5881B6EC-91E9-4D4F-83B9-E1090CCDCAF0}" destId="{F6B5B8A1-61B2-45BB-987C-B24085693519}" srcOrd="0" destOrd="0" presId="urn:microsoft.com/office/officeart/2005/8/layout/chevron2"/>
    <dgm:cxn modelId="{558F591F-8093-4F8C-B21E-F8C3D5CD431C}" type="presOf" srcId="{2DE5B656-EF39-4290-8CD3-1E70CD833A1F}" destId="{BDDF3BA5-BC7F-4BD8-926D-56E367CAD9D1}" srcOrd="0" destOrd="1" presId="urn:microsoft.com/office/officeart/2005/8/layout/chevron2"/>
    <dgm:cxn modelId="{F15EF730-970A-4F87-A55B-BF607AFFA2C4}" srcId="{AC25B001-F586-403A-BB5C-C016C4CD50DB}" destId="{BFDC8F6C-6F96-4892-9899-8460EBC9B3FC}" srcOrd="0" destOrd="0" parTransId="{6DF197F0-8647-49AD-BAED-1D03444DEBA2}" sibTransId="{F8347B63-ABD9-4D1C-8E25-57A0F3E58103}"/>
    <dgm:cxn modelId="{89E61933-FB5D-40B8-9593-4226006991C3}" type="presOf" srcId="{AC25B001-F586-403A-BB5C-C016C4CD50DB}" destId="{C9B4F4DF-CC93-4634-B413-E7C2EC051F40}" srcOrd="0" destOrd="0" presId="urn:microsoft.com/office/officeart/2005/8/layout/chevron2"/>
    <dgm:cxn modelId="{B88BFF37-E315-422C-AE83-B90075D7FBE5}" type="presOf" srcId="{F5645655-7827-4BCD-9C8D-6D76206697EF}" destId="{D562BF02-1012-47B1-A3A7-070F7E5A8E50}" srcOrd="0" destOrd="0" presId="urn:microsoft.com/office/officeart/2005/8/layout/chevron2"/>
    <dgm:cxn modelId="{9C8E953B-78B9-4DA2-9457-9D4640765B0D}" srcId="{5C9E15E0-680E-447E-80F6-523FA4447B91}" destId="{D381FF6A-7124-455C-A724-782747ED5EBC}" srcOrd="1" destOrd="0" parTransId="{4B963471-3133-4D25-9936-D28182B007F2}" sibTransId="{C8AD1008-7A11-42D6-A32F-0C72328FBD2A}"/>
    <dgm:cxn modelId="{F40BE03D-FF3A-461A-9BC4-EE17FAF4C535}" srcId="{44B22FC9-3589-4D67-BA2A-A9C9F718D14D}" destId="{3C93D7F8-0379-48E6-ADDE-A2EB94DA8790}" srcOrd="0" destOrd="0" parTransId="{F1A7DED9-9546-4A37-882D-D6D49CCD7EAE}" sibTransId="{3C891465-4957-42E6-8F0B-D97D049C72E9}"/>
    <dgm:cxn modelId="{FD756545-5471-46EB-8562-6D99CDA0407F}" type="presOf" srcId="{CF536E8B-96D9-4B5E-B731-8E68BA7EDB04}" destId="{168F310A-6B86-4A44-856C-DB1815AF6EAE}" srcOrd="0" destOrd="1" presId="urn:microsoft.com/office/officeart/2005/8/layout/chevron2"/>
    <dgm:cxn modelId="{6EAB124B-AA10-44E0-BC0E-E3A5117C351B}" type="presOf" srcId="{70281385-E478-4584-9471-E3E44F01B986}" destId="{0C9FB1E9-8B01-4B29-8D21-2CC53D06ECAE}" srcOrd="0" destOrd="3" presId="urn:microsoft.com/office/officeart/2005/8/layout/chevron2"/>
    <dgm:cxn modelId="{EFDE1F54-FCDA-4D8E-83B7-3B3029042D45}" type="presOf" srcId="{D44BD279-9043-4037-A639-2C8635D65FF5}" destId="{5A5DA578-2228-485B-BADB-7E2C184A7120}" srcOrd="0" destOrd="0" presId="urn:microsoft.com/office/officeart/2005/8/layout/chevron2"/>
    <dgm:cxn modelId="{3B0DEF55-65CE-4597-8782-8308C93BF986}" type="presOf" srcId="{76C574D6-5B00-4C6C-9A6F-B62CA619F1E6}" destId="{2E9BB5EC-5B8D-414F-90E0-571AE6250906}" srcOrd="0" destOrd="0" presId="urn:microsoft.com/office/officeart/2005/8/layout/chevron2"/>
    <dgm:cxn modelId="{B1B2D85F-384A-4865-BB92-341855F0793A}" srcId="{F5645655-7827-4BCD-9C8D-6D76206697EF}" destId="{44B22FC9-3589-4D67-BA2A-A9C9F718D14D}" srcOrd="6" destOrd="0" parTransId="{CEC13B11-467B-416E-9505-CDB93425CE60}" sibTransId="{7F27950E-BDEC-4A7C-A1C0-A8D4DA8BBC2D}"/>
    <dgm:cxn modelId="{9CE1C364-375F-4DBB-A138-17D07B7AEB93}" srcId="{F5645655-7827-4BCD-9C8D-6D76206697EF}" destId="{5881B6EC-91E9-4D4F-83B9-E1090CCDCAF0}" srcOrd="5" destOrd="0" parTransId="{88FD5DA2-C3B4-4F1B-8F9E-E57E048BF3D0}" sibTransId="{57E89B39-C0E0-4D2D-AD12-23124F9F61DB}"/>
    <dgm:cxn modelId="{5C3BE868-D3F5-46FB-92A9-3354922F4D88}" srcId="{EB48BD06-23BC-4486-9C04-772B41295B5B}" destId="{2DE5B656-EF39-4290-8CD3-1E70CD833A1F}" srcOrd="1" destOrd="0" parTransId="{86CBA611-AF8D-4DEB-B8EF-C6F8B6A1A304}" sibTransId="{AFF7D791-51C3-4C5D-B388-20CCC231A1ED}"/>
    <dgm:cxn modelId="{63E44C6A-6A23-4368-BCA7-92E86AA24AF4}" srcId="{AC25B001-F586-403A-BB5C-C016C4CD50DB}" destId="{D48E90C1-AEFC-444E-B284-81D8038D4D47}" srcOrd="4" destOrd="0" parTransId="{2756BC17-2906-4F0E-9C01-2900535DB20F}" sibTransId="{C37859EF-525D-4CF2-8137-E39DAB1DEDFC}"/>
    <dgm:cxn modelId="{1F7CA97A-8BCA-4080-A63C-FC5AD05E4863}" srcId="{5C9E15E0-680E-447E-80F6-523FA4447B91}" destId="{D2BCBE42-96E3-4D15-81F7-D207B6B44921}" srcOrd="0" destOrd="0" parTransId="{F130C941-2A9B-4C14-B602-C8FA49E0C5F6}" sibTransId="{67BC560E-0F67-4A13-83D2-477C61483E2D}"/>
    <dgm:cxn modelId="{AF9A7E7B-0351-4E5A-A563-BE41D187FE73}" type="presOf" srcId="{DDB3CBB4-59AC-4CD6-A223-E69F03AFBC26}" destId="{28238B0B-B251-4D11-9FFC-861665409535}" srcOrd="0" destOrd="0" presId="urn:microsoft.com/office/officeart/2005/8/layout/chevron2"/>
    <dgm:cxn modelId="{91600C7C-A4EF-4AF7-8B84-FACD83B81DE6}" srcId="{5C9E15E0-680E-447E-80F6-523FA4447B91}" destId="{09EF57AD-76E5-4DBC-B668-01C5E29C0608}" srcOrd="2" destOrd="0" parTransId="{F22823AB-6AC2-4D1F-92F5-3876D3BA5E02}" sibTransId="{3D9BDEF6-60D7-406D-946B-BC80444B2995}"/>
    <dgm:cxn modelId="{2E117E80-26F9-4280-A5DB-BA5EA94452F0}" srcId="{24466988-B967-4C27-B5FB-926A4067DEF2}" destId="{8937CC78-F6EF-4E95-AE00-279AAE7E0EB8}" srcOrd="1" destOrd="0" parTransId="{0296D98C-CEC6-4D6F-B5E2-CD9498F9FA83}" sibTransId="{39F150B7-87A5-4F04-B497-899068C833F0}"/>
    <dgm:cxn modelId="{9B132382-FC9E-405B-979F-2B41E07DDA9F}" type="presOf" srcId="{5C9E15E0-680E-447E-80F6-523FA4447B91}" destId="{7AEB83A7-56D2-48C9-A5F0-5AD8A376326F}" srcOrd="0" destOrd="0" presId="urn:microsoft.com/office/officeart/2005/8/layout/chevron2"/>
    <dgm:cxn modelId="{9D2D1883-D7E5-4DC3-B612-9AB045A71809}" srcId="{44B22FC9-3589-4D67-BA2A-A9C9F718D14D}" destId="{07DA5113-8D72-4890-9E95-009B22580F44}" srcOrd="1" destOrd="0" parTransId="{737B2E15-B9D3-45A1-AF9C-4C5AC51DACE2}" sibTransId="{05420DB0-3824-4765-BAD6-232A52C7C44E}"/>
    <dgm:cxn modelId="{F4D8D987-B11F-4FB2-83DA-C6D9E7182CCD}" type="presOf" srcId="{D2BCBE42-96E3-4D15-81F7-D207B6B44921}" destId="{3010D677-24F5-4621-9843-2520CFAC7F45}" srcOrd="0" destOrd="0" presId="urn:microsoft.com/office/officeart/2005/8/layout/chevron2"/>
    <dgm:cxn modelId="{3820A788-747F-4B5C-9BCF-15CF42865EC1}" srcId="{F5645655-7827-4BCD-9C8D-6D76206697EF}" destId="{24466988-B967-4C27-B5FB-926A4067DEF2}" srcOrd="4" destOrd="0" parTransId="{D6624743-3555-4DE4-9FAA-91BE700BDEBF}" sibTransId="{0929077B-AD3F-4FF1-AE90-6B294D258299}"/>
    <dgm:cxn modelId="{E5CDAF88-0AAF-4E12-94F3-40D54CE5E3F1}" srcId="{F5645655-7827-4BCD-9C8D-6D76206697EF}" destId="{EB48BD06-23BC-4486-9C04-772B41295B5B}" srcOrd="3" destOrd="0" parTransId="{A429FD28-3E8B-41DA-8548-11319FE99E43}" sibTransId="{706493BD-D5E8-4EDF-9F9D-71296519E4CA}"/>
    <dgm:cxn modelId="{C3A6BA8D-74D6-4047-BA9A-B95FFE96DE25}" type="presOf" srcId="{07DA5113-8D72-4890-9E95-009B22580F44}" destId="{C241DC8A-B205-4547-BDDA-00A61A522508}" srcOrd="0" destOrd="1" presId="urn:microsoft.com/office/officeart/2005/8/layout/chevron2"/>
    <dgm:cxn modelId="{0327B791-ADCF-4BBC-B756-AA940FF7713A}" srcId="{44B22FC9-3589-4D67-BA2A-A9C9F718D14D}" destId="{DCAB0424-C6D0-42CD-82D3-C3E1C5F39F23}" srcOrd="2" destOrd="0" parTransId="{071D7579-F46D-4EE3-ABFF-8251676B2C9C}" sibTransId="{959E7E5C-B591-4F1A-B2FA-0F777D91EDE6}"/>
    <dgm:cxn modelId="{4D966892-FCA0-448F-A781-8254CC5908F4}" srcId="{DDB3CBB4-59AC-4CD6-A223-E69F03AFBC26}" destId="{9FB7EE33-4737-412D-9881-0C76840C3F53}" srcOrd="0" destOrd="0" parTransId="{F5F9281D-203C-4633-BFC9-F00673F40CBF}" sibTransId="{6EE2C1D7-8748-4A86-91A1-8BCEDE1F4EAD}"/>
    <dgm:cxn modelId="{CE2B9D92-D17D-4E67-AC29-2B4D4B171A3A}" type="presOf" srcId="{44B22FC9-3589-4D67-BA2A-A9C9F718D14D}" destId="{8B56BED4-05AF-4434-B4BE-0D866387A51C}" srcOrd="0" destOrd="0" presId="urn:microsoft.com/office/officeart/2005/8/layout/chevron2"/>
    <dgm:cxn modelId="{AED2E592-01F8-45EB-9D6F-9181E20613BA}" srcId="{F5645655-7827-4BCD-9C8D-6D76206697EF}" destId="{AC25B001-F586-403A-BB5C-C016C4CD50DB}" srcOrd="0" destOrd="0" parTransId="{76CE337A-6853-4C5D-BDCF-33FCAFB024FF}" sibTransId="{3A5E9BD6-70DE-40CA-A9E8-8EEC6BF9D7D0}"/>
    <dgm:cxn modelId="{C4ED2796-6F3E-4B54-912E-E6E5E09FB299}" type="presOf" srcId="{D381FF6A-7124-455C-A724-782747ED5EBC}" destId="{3010D677-24F5-4621-9843-2520CFAC7F45}" srcOrd="0" destOrd="1" presId="urn:microsoft.com/office/officeart/2005/8/layout/chevron2"/>
    <dgm:cxn modelId="{27A7889A-BC9B-4759-B7CA-9BC1361E8756}" srcId="{F5645655-7827-4BCD-9C8D-6D76206697EF}" destId="{76C574D6-5B00-4C6C-9A6F-B62CA619F1E6}" srcOrd="7" destOrd="0" parTransId="{38234C1B-92D6-42B0-A319-7A38B09169EB}" sibTransId="{A82D01D3-2DCD-4FDC-B496-CCB27C3164A1}"/>
    <dgm:cxn modelId="{4A6553A0-07E2-4F6A-92B3-AB8A64A030DB}" srcId="{F5645655-7827-4BCD-9C8D-6D76206697EF}" destId="{DDB3CBB4-59AC-4CD6-A223-E69F03AFBC26}" srcOrd="1" destOrd="0" parTransId="{6DF0DF50-6124-4196-AD09-4481E1921F80}" sibTransId="{2AE3CDDF-79A4-4B66-A080-046BE3683405}"/>
    <dgm:cxn modelId="{48DF9FA3-7EF8-4950-B122-E9570EFF81D0}" type="presOf" srcId="{EB48BD06-23BC-4486-9C04-772B41295B5B}" destId="{20A9D781-A829-4B7A-880D-157B0327C36F}" srcOrd="0" destOrd="0" presId="urn:microsoft.com/office/officeart/2005/8/layout/chevron2"/>
    <dgm:cxn modelId="{8425A6A5-781B-49FD-87C6-5D692752E9E6}" type="presOf" srcId="{9FB7EE33-4737-412D-9881-0C76840C3F53}" destId="{1C714012-CFD2-4D73-A7D4-8FE3E0BD3098}" srcOrd="0" destOrd="0" presId="urn:microsoft.com/office/officeart/2005/8/layout/chevron2"/>
    <dgm:cxn modelId="{7EE87DA7-93AC-4FD9-8CB1-34EC2255D10B}" type="presOf" srcId="{8937CC78-F6EF-4E95-AE00-279AAE7E0EB8}" destId="{5A5DA578-2228-485B-BADB-7E2C184A7120}" srcOrd="0" destOrd="1" presId="urn:microsoft.com/office/officeart/2005/8/layout/chevron2"/>
    <dgm:cxn modelId="{284041A9-5A70-4F53-9A34-555F02D99A21}" srcId="{AC25B001-F586-403A-BB5C-C016C4CD50DB}" destId="{0584F6EE-6F59-47DB-A4B7-67BAFCED0906}" srcOrd="1" destOrd="0" parTransId="{2B66B5FE-DB8E-4B3C-A335-DE412F509887}" sibTransId="{5FA27D4A-D277-40FF-BFD5-688353BCC56E}"/>
    <dgm:cxn modelId="{A79BAFAC-2B8B-4591-8AFC-2FD27195A0CD}" srcId="{5881B6EC-91E9-4D4F-83B9-E1090CCDCAF0}" destId="{4CF736C5-98A4-4E40-A414-0807AA1E65A1}" srcOrd="0" destOrd="0" parTransId="{6FAF7202-AB09-417E-A409-BEC0984D782A}" sibTransId="{6C7630EF-468D-43CB-8A8F-ECE43EE749CA}"/>
    <dgm:cxn modelId="{BC576FB4-6DD9-45B7-AD1F-9E8C357850C0}" srcId="{F5645655-7827-4BCD-9C8D-6D76206697EF}" destId="{5C9E15E0-680E-447E-80F6-523FA4447B91}" srcOrd="2" destOrd="0" parTransId="{9457B91D-397B-4D79-AC03-A914EC2C826E}" sibTransId="{BD5333F1-456A-4DB7-8436-764F84354F42}"/>
    <dgm:cxn modelId="{8D4D54C2-3D3B-4736-869D-F508D470BA8C}" type="presOf" srcId="{6DD79AA1-EFAB-47CC-9606-0BDCD7407F4A}" destId="{BDDF3BA5-BC7F-4BD8-926D-56E367CAD9D1}" srcOrd="0" destOrd="0" presId="urn:microsoft.com/office/officeart/2005/8/layout/chevron2"/>
    <dgm:cxn modelId="{849353C9-506C-4A85-B57D-FBABF33FF974}" srcId="{DDB3CBB4-59AC-4CD6-A223-E69F03AFBC26}" destId="{7CBBC6BB-1AA3-42BF-B541-C8D254610650}" srcOrd="1" destOrd="0" parTransId="{BFE9BE39-3F23-40D3-9419-27433282D936}" sibTransId="{20641255-4CF0-4E8D-AD8F-9DC52A72C9EC}"/>
    <dgm:cxn modelId="{B46EA0CB-DB43-43EE-9C59-7A11FE610E09}" type="presOf" srcId="{0584F6EE-6F59-47DB-A4B7-67BAFCED0906}" destId="{0C9FB1E9-8B01-4B29-8D21-2CC53D06ECAE}" srcOrd="0" destOrd="1" presId="urn:microsoft.com/office/officeart/2005/8/layout/chevron2"/>
    <dgm:cxn modelId="{A7ED2ADF-A38D-48D5-B95A-C338E5DE560A}" srcId="{AC25B001-F586-403A-BB5C-C016C4CD50DB}" destId="{70281385-E478-4584-9471-E3E44F01B986}" srcOrd="3" destOrd="0" parTransId="{F092E7F4-9B3A-41B7-ADDF-139BDEED343F}" sibTransId="{6143D470-8C42-46C1-A38E-0325880323EC}"/>
    <dgm:cxn modelId="{E3B994DF-F03A-4646-8388-5383D2F22899}" srcId="{76C574D6-5B00-4C6C-9A6F-B62CA619F1E6}" destId="{CF536E8B-96D9-4B5E-B731-8E68BA7EDB04}" srcOrd="1" destOrd="0" parTransId="{336EA364-A2DC-4FB5-A240-D012B0845FEB}" sibTransId="{F0754C5B-C96F-4183-9D2C-C8717FCE187D}"/>
    <dgm:cxn modelId="{02FEC5E3-2108-4378-A8AF-006FEFCC82D4}" type="presOf" srcId="{09EF57AD-76E5-4DBC-B668-01C5E29C0608}" destId="{3010D677-24F5-4621-9843-2520CFAC7F45}" srcOrd="0" destOrd="2" presId="urn:microsoft.com/office/officeart/2005/8/layout/chevron2"/>
    <dgm:cxn modelId="{745782E7-1104-4469-A96B-7F8B2811D268}" srcId="{EB48BD06-23BC-4486-9C04-772B41295B5B}" destId="{6DD79AA1-EFAB-47CC-9606-0BDCD7407F4A}" srcOrd="0" destOrd="0" parTransId="{F933B572-4A2A-4E33-96C8-D8164DA7AEA9}" sibTransId="{B7E828F7-6D2D-424A-8F2B-66BAB862A56D}"/>
    <dgm:cxn modelId="{DCD2BFE8-DB72-4DAA-A947-DF108669A2BB}" srcId="{24466988-B967-4C27-B5FB-926A4067DEF2}" destId="{D44BD279-9043-4037-A639-2C8635D65FF5}" srcOrd="0" destOrd="0" parTransId="{113A050B-3681-4294-B363-E2971E738CB2}" sibTransId="{12ABB847-15CC-407E-AAC5-9AA246D3E31E}"/>
    <dgm:cxn modelId="{D7C26DF0-526A-42EA-A2BF-8F80BFB82737}" type="presOf" srcId="{D9C3502A-96C6-4C94-8C27-F5050692C790}" destId="{0C9FB1E9-8B01-4B29-8D21-2CC53D06ECAE}" srcOrd="0" destOrd="2" presId="urn:microsoft.com/office/officeart/2005/8/layout/chevron2"/>
    <dgm:cxn modelId="{E6C362FC-B0C7-419D-9DEF-03CF8D050763}" type="presOf" srcId="{7CBBC6BB-1AA3-42BF-B541-C8D254610650}" destId="{1C714012-CFD2-4D73-A7D4-8FE3E0BD3098}" srcOrd="0" destOrd="1" presId="urn:microsoft.com/office/officeart/2005/8/layout/chevron2"/>
    <dgm:cxn modelId="{106922FD-EEB8-4FD6-AF86-150BF141AB55}" type="presOf" srcId="{3C93D7F8-0379-48E6-ADDE-A2EB94DA8790}" destId="{C241DC8A-B205-4547-BDDA-00A61A522508}" srcOrd="0" destOrd="0" presId="urn:microsoft.com/office/officeart/2005/8/layout/chevron2"/>
    <dgm:cxn modelId="{BE3A7DFE-36AD-4AA3-9A68-9FA2A7BE98E8}" type="presOf" srcId="{DCAB0424-C6D0-42CD-82D3-C3E1C5F39F23}" destId="{C241DC8A-B205-4547-BDDA-00A61A522508}" srcOrd="0" destOrd="2" presId="urn:microsoft.com/office/officeart/2005/8/layout/chevron2"/>
    <dgm:cxn modelId="{83E04419-407B-4D09-8AFE-E1685BFFB905}" type="presParOf" srcId="{D562BF02-1012-47B1-A3A7-070F7E5A8E50}" destId="{D9A459EB-0CE6-4476-878C-1C2B6639BD79}" srcOrd="0" destOrd="0" presId="urn:microsoft.com/office/officeart/2005/8/layout/chevron2"/>
    <dgm:cxn modelId="{644061EA-CB9C-422F-A89C-844CFE4ECBF6}" type="presParOf" srcId="{D9A459EB-0CE6-4476-878C-1C2B6639BD79}" destId="{C9B4F4DF-CC93-4634-B413-E7C2EC051F40}" srcOrd="0" destOrd="0" presId="urn:microsoft.com/office/officeart/2005/8/layout/chevron2"/>
    <dgm:cxn modelId="{E1C57A0B-F54A-4134-8F6C-04416EC7F93A}" type="presParOf" srcId="{D9A459EB-0CE6-4476-878C-1C2B6639BD79}" destId="{0C9FB1E9-8B01-4B29-8D21-2CC53D06ECAE}" srcOrd="1" destOrd="0" presId="urn:microsoft.com/office/officeart/2005/8/layout/chevron2"/>
    <dgm:cxn modelId="{3E45F168-84B9-420C-8C55-BF84E151D869}" type="presParOf" srcId="{D562BF02-1012-47B1-A3A7-070F7E5A8E50}" destId="{45678BF1-5550-4F1A-BD5E-EAE65631ECAF}" srcOrd="1" destOrd="0" presId="urn:microsoft.com/office/officeart/2005/8/layout/chevron2"/>
    <dgm:cxn modelId="{43BF4132-0509-4DF6-A2B5-E2C1E1A96762}" type="presParOf" srcId="{D562BF02-1012-47B1-A3A7-070F7E5A8E50}" destId="{6097BBDA-D227-46C2-843C-3582AAFE7A20}" srcOrd="2" destOrd="0" presId="urn:microsoft.com/office/officeart/2005/8/layout/chevron2"/>
    <dgm:cxn modelId="{8985AE97-9D3F-4ACF-BF44-A66B2146ED03}" type="presParOf" srcId="{6097BBDA-D227-46C2-843C-3582AAFE7A20}" destId="{28238B0B-B251-4D11-9FFC-861665409535}" srcOrd="0" destOrd="0" presId="urn:microsoft.com/office/officeart/2005/8/layout/chevron2"/>
    <dgm:cxn modelId="{6D156289-21DC-428E-A816-E58FD58A6470}" type="presParOf" srcId="{6097BBDA-D227-46C2-843C-3582AAFE7A20}" destId="{1C714012-CFD2-4D73-A7D4-8FE3E0BD3098}" srcOrd="1" destOrd="0" presId="urn:microsoft.com/office/officeart/2005/8/layout/chevron2"/>
    <dgm:cxn modelId="{332AAE1F-C98B-4C3A-A6AB-B50D7A3FAA9A}" type="presParOf" srcId="{D562BF02-1012-47B1-A3A7-070F7E5A8E50}" destId="{752F6E06-9560-4D64-A28B-34D82D378BFE}" srcOrd="3" destOrd="0" presId="urn:microsoft.com/office/officeart/2005/8/layout/chevron2"/>
    <dgm:cxn modelId="{C8E25775-8E17-417A-957D-41A13D6C3FD2}" type="presParOf" srcId="{D562BF02-1012-47B1-A3A7-070F7E5A8E50}" destId="{DE365B81-0055-4610-BFE6-58BA24B62DB9}" srcOrd="4" destOrd="0" presId="urn:microsoft.com/office/officeart/2005/8/layout/chevron2"/>
    <dgm:cxn modelId="{A3E7ACA7-4354-42DC-9764-E78C16BCAAC1}" type="presParOf" srcId="{DE365B81-0055-4610-BFE6-58BA24B62DB9}" destId="{7AEB83A7-56D2-48C9-A5F0-5AD8A376326F}" srcOrd="0" destOrd="0" presId="urn:microsoft.com/office/officeart/2005/8/layout/chevron2"/>
    <dgm:cxn modelId="{FB469B8B-A2AC-4833-8A04-BCCED58E2008}" type="presParOf" srcId="{DE365B81-0055-4610-BFE6-58BA24B62DB9}" destId="{3010D677-24F5-4621-9843-2520CFAC7F45}" srcOrd="1" destOrd="0" presId="urn:microsoft.com/office/officeart/2005/8/layout/chevron2"/>
    <dgm:cxn modelId="{69A15148-A6F3-4DB6-958E-826C313EB51B}" type="presParOf" srcId="{D562BF02-1012-47B1-A3A7-070F7E5A8E50}" destId="{A5EADB4F-7DF1-4F42-8872-844C37EEF16C}" srcOrd="5" destOrd="0" presId="urn:microsoft.com/office/officeart/2005/8/layout/chevron2"/>
    <dgm:cxn modelId="{96787FB1-920E-43BD-AA14-23792BEEABB7}" type="presParOf" srcId="{D562BF02-1012-47B1-A3A7-070F7E5A8E50}" destId="{166C82B4-571E-4D9B-85A0-F3088A92B4A5}" srcOrd="6" destOrd="0" presId="urn:microsoft.com/office/officeart/2005/8/layout/chevron2"/>
    <dgm:cxn modelId="{2587B777-6913-47DF-ADD7-336B9A8031B2}" type="presParOf" srcId="{166C82B4-571E-4D9B-85A0-F3088A92B4A5}" destId="{20A9D781-A829-4B7A-880D-157B0327C36F}" srcOrd="0" destOrd="0" presId="urn:microsoft.com/office/officeart/2005/8/layout/chevron2"/>
    <dgm:cxn modelId="{F3612E32-1F59-48D3-AB4D-5E64FC564526}" type="presParOf" srcId="{166C82B4-571E-4D9B-85A0-F3088A92B4A5}" destId="{BDDF3BA5-BC7F-4BD8-926D-56E367CAD9D1}" srcOrd="1" destOrd="0" presId="urn:microsoft.com/office/officeart/2005/8/layout/chevron2"/>
    <dgm:cxn modelId="{1D8EF1F1-5D3A-4BF6-93E5-E37FA14F4092}" type="presParOf" srcId="{D562BF02-1012-47B1-A3A7-070F7E5A8E50}" destId="{C224869E-9740-4C4A-B2D5-4A46AD509DAC}" srcOrd="7" destOrd="0" presId="urn:microsoft.com/office/officeart/2005/8/layout/chevron2"/>
    <dgm:cxn modelId="{766E2506-FB5D-40FF-9C6F-A50BC216BCE8}" type="presParOf" srcId="{D562BF02-1012-47B1-A3A7-070F7E5A8E50}" destId="{593ED597-73A7-4D03-BCA1-893F43AD882B}" srcOrd="8" destOrd="0" presId="urn:microsoft.com/office/officeart/2005/8/layout/chevron2"/>
    <dgm:cxn modelId="{6B00B459-9F47-4E55-A4EF-A62606264CFF}" type="presParOf" srcId="{593ED597-73A7-4D03-BCA1-893F43AD882B}" destId="{4C434DF2-1203-46EC-A736-8F3625C6A502}" srcOrd="0" destOrd="0" presId="urn:microsoft.com/office/officeart/2005/8/layout/chevron2"/>
    <dgm:cxn modelId="{2CB7CD1D-C9D0-4888-A532-3987007D80B8}" type="presParOf" srcId="{593ED597-73A7-4D03-BCA1-893F43AD882B}" destId="{5A5DA578-2228-485B-BADB-7E2C184A7120}" srcOrd="1" destOrd="0" presId="urn:microsoft.com/office/officeart/2005/8/layout/chevron2"/>
    <dgm:cxn modelId="{EFFD6E57-BE84-4150-B350-808BF2B0E23A}" type="presParOf" srcId="{D562BF02-1012-47B1-A3A7-070F7E5A8E50}" destId="{C44D1CE9-244A-47B9-B916-A5523428A8E3}" srcOrd="9" destOrd="0" presId="urn:microsoft.com/office/officeart/2005/8/layout/chevron2"/>
    <dgm:cxn modelId="{6CA6AD49-4221-405E-A92A-B69765A6BA39}" type="presParOf" srcId="{D562BF02-1012-47B1-A3A7-070F7E5A8E50}" destId="{8F627087-4735-4ECF-928E-8BA7B795607A}" srcOrd="10" destOrd="0" presId="urn:microsoft.com/office/officeart/2005/8/layout/chevron2"/>
    <dgm:cxn modelId="{843B57FE-3171-4726-B52D-CB933CC7F23D}" type="presParOf" srcId="{8F627087-4735-4ECF-928E-8BA7B795607A}" destId="{F6B5B8A1-61B2-45BB-987C-B24085693519}" srcOrd="0" destOrd="0" presId="urn:microsoft.com/office/officeart/2005/8/layout/chevron2"/>
    <dgm:cxn modelId="{50568B89-27C2-44B5-8822-FB9D87C7B01C}" type="presParOf" srcId="{8F627087-4735-4ECF-928E-8BA7B795607A}" destId="{640509E3-A0DB-4CD5-AE92-82BAC327E927}" srcOrd="1" destOrd="0" presId="urn:microsoft.com/office/officeart/2005/8/layout/chevron2"/>
    <dgm:cxn modelId="{40C01B18-A3EF-4EE0-8D22-2AE5B1CF8890}" type="presParOf" srcId="{D562BF02-1012-47B1-A3A7-070F7E5A8E50}" destId="{1160072C-ED7A-4F9D-8E05-82CD53AC0D25}" srcOrd="11" destOrd="0" presId="urn:microsoft.com/office/officeart/2005/8/layout/chevron2"/>
    <dgm:cxn modelId="{25BB7E02-4713-4BB2-A917-E3F198A1F7B4}" type="presParOf" srcId="{D562BF02-1012-47B1-A3A7-070F7E5A8E50}" destId="{2DC8A3E5-34CF-410E-9D2F-12A1D5740ABE}" srcOrd="12" destOrd="0" presId="urn:microsoft.com/office/officeart/2005/8/layout/chevron2"/>
    <dgm:cxn modelId="{727AA787-6D9D-4C56-A74D-D49F26955EDE}" type="presParOf" srcId="{2DC8A3E5-34CF-410E-9D2F-12A1D5740ABE}" destId="{8B56BED4-05AF-4434-B4BE-0D866387A51C}" srcOrd="0" destOrd="0" presId="urn:microsoft.com/office/officeart/2005/8/layout/chevron2"/>
    <dgm:cxn modelId="{543D06EA-66CA-46A6-AFA7-1B4B3A8B4D8E}" type="presParOf" srcId="{2DC8A3E5-34CF-410E-9D2F-12A1D5740ABE}" destId="{C241DC8A-B205-4547-BDDA-00A61A522508}" srcOrd="1" destOrd="0" presId="urn:microsoft.com/office/officeart/2005/8/layout/chevron2"/>
    <dgm:cxn modelId="{9E6FE5FF-C4EC-433C-BE87-B451843C1919}" type="presParOf" srcId="{D562BF02-1012-47B1-A3A7-070F7E5A8E50}" destId="{73C48AC6-58EA-4122-B148-7241037FD092}" srcOrd="13" destOrd="0" presId="urn:microsoft.com/office/officeart/2005/8/layout/chevron2"/>
    <dgm:cxn modelId="{0F2800AF-225D-481C-B6FB-91774F7C3ECF}" type="presParOf" srcId="{D562BF02-1012-47B1-A3A7-070F7E5A8E50}" destId="{C1F93DED-DAC1-4BBD-AACD-3E89E35382CE}" srcOrd="14" destOrd="0" presId="urn:microsoft.com/office/officeart/2005/8/layout/chevron2"/>
    <dgm:cxn modelId="{EC54319B-84A6-4F3F-914E-2D029434CF31}" type="presParOf" srcId="{C1F93DED-DAC1-4BBD-AACD-3E89E35382CE}" destId="{2E9BB5EC-5B8D-414F-90E0-571AE6250906}" srcOrd="0" destOrd="0" presId="urn:microsoft.com/office/officeart/2005/8/layout/chevron2"/>
    <dgm:cxn modelId="{8245E8EF-F44C-4A7F-B808-7D671A3BBF49}" type="presParOf" srcId="{C1F93DED-DAC1-4BBD-AACD-3E89E35382CE}" destId="{168F310A-6B86-4A44-856C-DB1815AF6EA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5645655-7827-4BCD-9C8D-6D76206697EF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</dgm:pt>
    <dgm:pt modelId="{AC25B001-F586-403A-BB5C-C016C4CD50DB}">
      <dgm:prSet phldrT="[Text]" custT="1"/>
      <dgm:spPr/>
      <dgm:t>
        <a:bodyPr/>
        <a:lstStyle/>
        <a:p>
          <a:endParaRPr lang="en-US" sz="600" dirty="0"/>
        </a:p>
        <a:p>
          <a:r>
            <a:rPr lang="en-US" sz="600" dirty="0"/>
            <a:t>Leave Request by employee</a:t>
          </a:r>
          <a:endParaRPr lang="en-IN" sz="600" dirty="0"/>
        </a:p>
      </dgm:t>
    </dgm:pt>
    <dgm:pt modelId="{76CE337A-6853-4C5D-BDCF-33FCAFB024FF}" type="parTrans" cxnId="{AED2E592-01F8-45EB-9D6F-9181E20613BA}">
      <dgm:prSet/>
      <dgm:spPr/>
      <dgm:t>
        <a:bodyPr/>
        <a:lstStyle/>
        <a:p>
          <a:endParaRPr lang="en-IN" sz="800"/>
        </a:p>
      </dgm:t>
    </dgm:pt>
    <dgm:pt modelId="{3A5E9BD6-70DE-40CA-A9E8-8EEC6BF9D7D0}" type="sibTrans" cxnId="{AED2E592-01F8-45EB-9D6F-9181E20613BA}">
      <dgm:prSet/>
      <dgm:spPr/>
      <dgm:t>
        <a:bodyPr/>
        <a:lstStyle/>
        <a:p>
          <a:endParaRPr lang="en-IN" sz="800"/>
        </a:p>
      </dgm:t>
    </dgm:pt>
    <dgm:pt modelId="{DDB3CBB4-59AC-4CD6-A223-E69F03AFBC26}">
      <dgm:prSet phldrT="[Text]" custT="1"/>
      <dgm:spPr/>
      <dgm:t>
        <a:bodyPr/>
        <a:lstStyle/>
        <a:p>
          <a:endParaRPr lang="en-US" sz="600" dirty="0"/>
        </a:p>
        <a:p>
          <a:r>
            <a:rPr lang="en-US" sz="600" dirty="0"/>
            <a:t>Leave Request by CHR</a:t>
          </a:r>
          <a:endParaRPr lang="en-IN" sz="600" dirty="0"/>
        </a:p>
      </dgm:t>
    </dgm:pt>
    <dgm:pt modelId="{6DF0DF50-6124-4196-AD09-4481E1921F80}" type="parTrans" cxnId="{4A6553A0-07E2-4F6A-92B3-AB8A64A030DB}">
      <dgm:prSet/>
      <dgm:spPr/>
      <dgm:t>
        <a:bodyPr/>
        <a:lstStyle/>
        <a:p>
          <a:endParaRPr lang="en-IN" sz="800"/>
        </a:p>
      </dgm:t>
    </dgm:pt>
    <dgm:pt modelId="{2AE3CDDF-79A4-4B66-A080-046BE3683405}" type="sibTrans" cxnId="{4A6553A0-07E2-4F6A-92B3-AB8A64A030DB}">
      <dgm:prSet/>
      <dgm:spPr/>
      <dgm:t>
        <a:bodyPr/>
        <a:lstStyle/>
        <a:p>
          <a:endParaRPr lang="en-IN" sz="800"/>
        </a:p>
      </dgm:t>
    </dgm:pt>
    <dgm:pt modelId="{0584F6EE-6F59-47DB-A4B7-67BAFCED0906}">
      <dgm:prSet custT="1"/>
      <dgm:spPr/>
      <dgm:t>
        <a:bodyPr/>
        <a:lstStyle/>
        <a:p>
          <a:r>
            <a:rPr lang="en-US" sz="800" dirty="0"/>
            <a:t>Creation by Employee &amp; Withdrawal</a:t>
          </a:r>
          <a:endParaRPr lang="en-IN" sz="800" dirty="0"/>
        </a:p>
      </dgm:t>
    </dgm:pt>
    <dgm:pt modelId="{2B66B5FE-DB8E-4B3C-A335-DE412F509887}" type="parTrans" cxnId="{284041A9-5A70-4F53-9A34-555F02D99A21}">
      <dgm:prSet/>
      <dgm:spPr/>
      <dgm:t>
        <a:bodyPr/>
        <a:lstStyle/>
        <a:p>
          <a:endParaRPr lang="en-IN" sz="800"/>
        </a:p>
      </dgm:t>
    </dgm:pt>
    <dgm:pt modelId="{5FA27D4A-D277-40FF-BFD5-688353BCC56E}" type="sibTrans" cxnId="{284041A9-5A70-4F53-9A34-555F02D99A21}">
      <dgm:prSet/>
      <dgm:spPr/>
      <dgm:t>
        <a:bodyPr/>
        <a:lstStyle/>
        <a:p>
          <a:endParaRPr lang="en-IN" sz="800"/>
        </a:p>
      </dgm:t>
    </dgm:pt>
    <dgm:pt modelId="{D48E90C1-AEFC-444E-B284-81D8038D4D47}">
      <dgm:prSet custT="1"/>
      <dgm:spPr/>
      <dgm:t>
        <a:bodyPr/>
        <a:lstStyle/>
        <a:p>
          <a:r>
            <a:rPr lang="en-US" sz="800" dirty="0"/>
            <a:t>Approval by Line Manager</a:t>
          </a:r>
          <a:endParaRPr lang="en-IN" sz="800" dirty="0"/>
        </a:p>
      </dgm:t>
    </dgm:pt>
    <dgm:pt modelId="{2756BC17-2906-4F0E-9C01-2900535DB20F}" type="parTrans" cxnId="{63E44C6A-6A23-4368-BCA7-92E86AA24AF4}">
      <dgm:prSet/>
      <dgm:spPr/>
      <dgm:t>
        <a:bodyPr/>
        <a:lstStyle/>
        <a:p>
          <a:endParaRPr lang="en-IN" sz="800"/>
        </a:p>
      </dgm:t>
    </dgm:pt>
    <dgm:pt modelId="{C37859EF-525D-4CF2-8137-E39DAB1DEDFC}" type="sibTrans" cxnId="{63E44C6A-6A23-4368-BCA7-92E86AA24AF4}">
      <dgm:prSet/>
      <dgm:spPr/>
      <dgm:t>
        <a:bodyPr/>
        <a:lstStyle/>
        <a:p>
          <a:endParaRPr lang="en-IN" sz="800"/>
        </a:p>
      </dgm:t>
    </dgm:pt>
    <dgm:pt modelId="{7CBBC6BB-1AA3-42BF-B541-C8D254610650}">
      <dgm:prSet phldrT="[Text]" custT="1"/>
      <dgm:spPr/>
      <dgm:t>
        <a:bodyPr/>
        <a:lstStyle/>
        <a:p>
          <a:endParaRPr lang="en-US" sz="600" dirty="0"/>
        </a:p>
        <a:p>
          <a:r>
            <a:rPr lang="en-US" sz="600" dirty="0"/>
            <a:t>Leave Quota Recalc</a:t>
          </a:r>
          <a:endParaRPr lang="en-IN" sz="600" dirty="0"/>
        </a:p>
      </dgm:t>
    </dgm:pt>
    <dgm:pt modelId="{BFE9BE39-3F23-40D3-9419-27433282D936}" type="parTrans" cxnId="{849353C9-506C-4A85-B57D-FBABF33FF974}">
      <dgm:prSet/>
      <dgm:spPr/>
      <dgm:t>
        <a:bodyPr/>
        <a:lstStyle/>
        <a:p>
          <a:endParaRPr lang="en-IN" sz="800"/>
        </a:p>
      </dgm:t>
    </dgm:pt>
    <dgm:pt modelId="{20641255-4CF0-4E8D-AD8F-9DC52A72C9EC}" type="sibTrans" cxnId="{849353C9-506C-4A85-B57D-FBABF33FF974}">
      <dgm:prSet/>
      <dgm:spPr/>
      <dgm:t>
        <a:bodyPr/>
        <a:lstStyle/>
        <a:p>
          <a:endParaRPr lang="en-IN" sz="800"/>
        </a:p>
      </dgm:t>
    </dgm:pt>
    <dgm:pt modelId="{791A69F8-359F-4C96-B391-3778F99A29CB}">
      <dgm:prSet phldrT="[Text]" custT="1"/>
      <dgm:spPr/>
      <dgm:t>
        <a:bodyPr/>
        <a:lstStyle/>
        <a:p>
          <a:endParaRPr lang="en-US" sz="700" b="1" dirty="0"/>
        </a:p>
        <a:p>
          <a:r>
            <a:rPr lang="en-US" sz="700" b="0" dirty="0"/>
            <a:t>Attendance</a:t>
          </a:r>
          <a:r>
            <a:rPr lang="en-US" sz="700" b="1" dirty="0"/>
            <a:t> </a:t>
          </a:r>
          <a:r>
            <a:rPr lang="en-US" sz="700" b="0" dirty="0"/>
            <a:t>Punch-in</a:t>
          </a:r>
          <a:endParaRPr lang="en-IN" sz="700" b="0" dirty="0"/>
        </a:p>
      </dgm:t>
    </dgm:pt>
    <dgm:pt modelId="{F0654550-905F-442D-AB03-8A21BC13F086}" type="parTrans" cxnId="{64F12E1D-89BD-45D6-A62A-BE28391F30C7}">
      <dgm:prSet/>
      <dgm:spPr/>
      <dgm:t>
        <a:bodyPr/>
        <a:lstStyle/>
        <a:p>
          <a:endParaRPr lang="en-IN"/>
        </a:p>
      </dgm:t>
    </dgm:pt>
    <dgm:pt modelId="{9BF4ED28-E155-448B-A318-9F80D03F4122}" type="sibTrans" cxnId="{64F12E1D-89BD-45D6-A62A-BE28391F30C7}">
      <dgm:prSet/>
      <dgm:spPr/>
      <dgm:t>
        <a:bodyPr/>
        <a:lstStyle/>
        <a:p>
          <a:endParaRPr lang="en-IN"/>
        </a:p>
      </dgm:t>
    </dgm:pt>
    <dgm:pt modelId="{47DE7789-3991-407B-9306-646A5D51F303}">
      <dgm:prSet phldrT="[Text]" custT="1"/>
      <dgm:spPr/>
      <dgm:t>
        <a:bodyPr/>
        <a:lstStyle/>
        <a:p>
          <a:r>
            <a:rPr lang="en-US" sz="600" b="0" dirty="0"/>
            <a:t>Regularization</a:t>
          </a:r>
          <a:endParaRPr lang="en-IN" sz="600" b="0" dirty="0"/>
        </a:p>
      </dgm:t>
    </dgm:pt>
    <dgm:pt modelId="{2DD71FE4-DCA0-4B23-9B72-5127F156F3B6}" type="parTrans" cxnId="{8BF7E2C2-C924-47EF-800E-4F8120EA2346}">
      <dgm:prSet/>
      <dgm:spPr/>
      <dgm:t>
        <a:bodyPr/>
        <a:lstStyle/>
        <a:p>
          <a:endParaRPr lang="en-IN"/>
        </a:p>
      </dgm:t>
    </dgm:pt>
    <dgm:pt modelId="{43505DEC-65D6-47C3-A67F-C47DAEF126DA}" type="sibTrans" cxnId="{8BF7E2C2-C924-47EF-800E-4F8120EA2346}">
      <dgm:prSet/>
      <dgm:spPr/>
      <dgm:t>
        <a:bodyPr/>
        <a:lstStyle/>
        <a:p>
          <a:endParaRPr lang="en-IN"/>
        </a:p>
      </dgm:t>
    </dgm:pt>
    <dgm:pt modelId="{66BE73A8-7E4F-4EFF-8A04-04A5A36F4E53}">
      <dgm:prSet phldrT="[Text]" custT="1"/>
      <dgm:spPr/>
      <dgm:t>
        <a:bodyPr/>
        <a:lstStyle/>
        <a:p>
          <a:r>
            <a:rPr lang="en-US" sz="800" dirty="0"/>
            <a:t>Request Creation by employee</a:t>
          </a:r>
          <a:endParaRPr lang="en-IN" sz="800" dirty="0"/>
        </a:p>
      </dgm:t>
    </dgm:pt>
    <dgm:pt modelId="{B793EAD8-CC23-434E-9F30-31389C8DE61E}" type="parTrans" cxnId="{61522ACC-1A93-4EB6-A7E3-10ABF0E7BC05}">
      <dgm:prSet/>
      <dgm:spPr/>
      <dgm:t>
        <a:bodyPr/>
        <a:lstStyle/>
        <a:p>
          <a:endParaRPr lang="en-IN"/>
        </a:p>
      </dgm:t>
    </dgm:pt>
    <dgm:pt modelId="{179D886B-CBBC-48FF-A058-58D543DFE89F}" type="sibTrans" cxnId="{61522ACC-1A93-4EB6-A7E3-10ABF0E7BC05}">
      <dgm:prSet/>
      <dgm:spPr/>
      <dgm:t>
        <a:bodyPr/>
        <a:lstStyle/>
        <a:p>
          <a:endParaRPr lang="en-IN"/>
        </a:p>
      </dgm:t>
    </dgm:pt>
    <dgm:pt modelId="{17162CCC-094C-4796-8CAF-CE7AD92C61C6}">
      <dgm:prSet phldrT="[Text]" custT="1"/>
      <dgm:spPr/>
      <dgm:t>
        <a:bodyPr/>
        <a:lstStyle/>
        <a:p>
          <a:r>
            <a:rPr lang="en-US" sz="800" dirty="0"/>
            <a:t>Approval by Line Manager</a:t>
          </a:r>
          <a:endParaRPr lang="en-IN" sz="800" dirty="0"/>
        </a:p>
      </dgm:t>
    </dgm:pt>
    <dgm:pt modelId="{D31B02C7-0409-4ED4-B745-E7B9603CF4C2}" type="parTrans" cxnId="{6507D738-8A87-4A10-A301-F3122B105AE5}">
      <dgm:prSet/>
      <dgm:spPr/>
      <dgm:t>
        <a:bodyPr/>
        <a:lstStyle/>
        <a:p>
          <a:endParaRPr lang="en-IN"/>
        </a:p>
      </dgm:t>
    </dgm:pt>
    <dgm:pt modelId="{8E423099-30F2-45C6-8CEF-B566EC1C7346}" type="sibTrans" cxnId="{6507D738-8A87-4A10-A301-F3122B105AE5}">
      <dgm:prSet/>
      <dgm:spPr/>
      <dgm:t>
        <a:bodyPr/>
        <a:lstStyle/>
        <a:p>
          <a:endParaRPr lang="en-IN"/>
        </a:p>
      </dgm:t>
    </dgm:pt>
    <dgm:pt modelId="{77AB0560-24EC-4E46-994C-95C0C60B6E8B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EOM - Auto Approval</a:t>
          </a:r>
          <a:endParaRPr lang="en-IN" sz="700" dirty="0"/>
        </a:p>
      </dgm:t>
    </dgm:pt>
    <dgm:pt modelId="{0DDD1F57-F62C-4D47-A628-6E0A0C3F9FBA}" type="parTrans" cxnId="{77C0D189-CB7D-4BA1-AD72-FC746CCE07E2}">
      <dgm:prSet/>
      <dgm:spPr/>
      <dgm:t>
        <a:bodyPr/>
        <a:lstStyle/>
        <a:p>
          <a:endParaRPr lang="en-IN"/>
        </a:p>
      </dgm:t>
    </dgm:pt>
    <dgm:pt modelId="{B21EA1AC-4383-4BE2-9572-272288ADD791}" type="sibTrans" cxnId="{77C0D189-CB7D-4BA1-AD72-FC746CCE07E2}">
      <dgm:prSet/>
      <dgm:spPr/>
      <dgm:t>
        <a:bodyPr/>
        <a:lstStyle/>
        <a:p>
          <a:endParaRPr lang="en-IN"/>
        </a:p>
      </dgm:t>
    </dgm:pt>
    <dgm:pt modelId="{99E7E68B-7868-4CF9-879E-042E755DAB23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Employee Action Trigger</a:t>
          </a:r>
          <a:endParaRPr lang="en-IN" sz="700" dirty="0"/>
        </a:p>
      </dgm:t>
    </dgm:pt>
    <dgm:pt modelId="{E1D23E61-E116-413F-B0D5-5648125DCA58}" type="parTrans" cxnId="{E00BBFE0-88AA-48C4-811C-80CC43FB7B9D}">
      <dgm:prSet/>
      <dgm:spPr/>
      <dgm:t>
        <a:bodyPr/>
        <a:lstStyle/>
        <a:p>
          <a:endParaRPr lang="en-IN"/>
        </a:p>
      </dgm:t>
    </dgm:pt>
    <dgm:pt modelId="{89D86126-1BFD-409F-8E5D-705753807C98}" type="sibTrans" cxnId="{E00BBFE0-88AA-48C4-811C-80CC43FB7B9D}">
      <dgm:prSet/>
      <dgm:spPr/>
      <dgm:t>
        <a:bodyPr/>
        <a:lstStyle/>
        <a:p>
          <a:endParaRPr lang="en-IN"/>
        </a:p>
      </dgm:t>
    </dgm:pt>
    <dgm:pt modelId="{CBCDBA4B-753A-4507-978C-AF273F726DF6}">
      <dgm:prSet custT="1"/>
      <dgm:spPr/>
      <dgm:t>
        <a:bodyPr/>
        <a:lstStyle/>
        <a:p>
          <a:r>
            <a:rPr lang="en-US" sz="800" dirty="0"/>
            <a:t>Attendance Punch in through web / mobile</a:t>
          </a:r>
          <a:endParaRPr lang="en-IN" sz="800" dirty="0"/>
        </a:p>
      </dgm:t>
    </dgm:pt>
    <dgm:pt modelId="{0DA7FFC2-FE7D-4AE0-BCA4-366256C82E4F}" type="parTrans" cxnId="{6AFB18AD-EF10-4112-9548-694D555BC18F}">
      <dgm:prSet/>
      <dgm:spPr/>
      <dgm:t>
        <a:bodyPr/>
        <a:lstStyle/>
        <a:p>
          <a:endParaRPr lang="en-IN"/>
        </a:p>
      </dgm:t>
    </dgm:pt>
    <dgm:pt modelId="{15BC3984-39E0-45E7-9DC9-CC647FE05AC2}" type="sibTrans" cxnId="{6AFB18AD-EF10-4112-9548-694D555BC18F}">
      <dgm:prSet/>
      <dgm:spPr/>
      <dgm:t>
        <a:bodyPr/>
        <a:lstStyle/>
        <a:p>
          <a:endParaRPr lang="en-IN"/>
        </a:p>
      </dgm:t>
    </dgm:pt>
    <dgm:pt modelId="{451C0CD4-75EB-4838-8384-662ED76C2A90}">
      <dgm:prSet custT="1"/>
      <dgm:spPr/>
      <dgm:t>
        <a:bodyPr/>
        <a:lstStyle/>
        <a:p>
          <a:r>
            <a:rPr lang="en-US" sz="800" dirty="0"/>
            <a:t>Daily Punch-in Mandated</a:t>
          </a:r>
          <a:endParaRPr lang="en-IN" sz="800" dirty="0"/>
        </a:p>
      </dgm:t>
    </dgm:pt>
    <dgm:pt modelId="{B23BE8B2-70E9-41E9-AC4B-1D471E0A625A}" type="parTrans" cxnId="{E423B857-4C25-483A-8278-D930A09FE1F1}">
      <dgm:prSet/>
      <dgm:spPr/>
      <dgm:t>
        <a:bodyPr/>
        <a:lstStyle/>
        <a:p>
          <a:endParaRPr lang="en-IN"/>
        </a:p>
      </dgm:t>
    </dgm:pt>
    <dgm:pt modelId="{9A042EC1-E352-41FC-A4C0-C9FE3F5A229C}" type="sibTrans" cxnId="{E423B857-4C25-483A-8278-D930A09FE1F1}">
      <dgm:prSet/>
      <dgm:spPr/>
      <dgm:t>
        <a:bodyPr/>
        <a:lstStyle/>
        <a:p>
          <a:endParaRPr lang="en-IN"/>
        </a:p>
      </dgm:t>
    </dgm:pt>
    <dgm:pt modelId="{CC6C68B4-81BF-45F0-9EEA-78B739248DA2}">
      <dgm:prSet custT="1"/>
      <dgm:spPr/>
      <dgm:t>
        <a:bodyPr/>
        <a:lstStyle/>
        <a:p>
          <a:r>
            <a:rPr lang="en-US" sz="800" dirty="0"/>
            <a:t>Creation of Paternity, Special Leaves, Advance PL and LOP </a:t>
          </a:r>
          <a:endParaRPr lang="en-IN" sz="800" dirty="0"/>
        </a:p>
      </dgm:t>
    </dgm:pt>
    <dgm:pt modelId="{6F516155-3D62-49A9-AC22-A3403C09496F}" type="parTrans" cxnId="{CE1254CE-DCBB-40F7-94E3-02ADF1B7DCD8}">
      <dgm:prSet/>
      <dgm:spPr/>
      <dgm:t>
        <a:bodyPr/>
        <a:lstStyle/>
        <a:p>
          <a:endParaRPr lang="en-IN"/>
        </a:p>
      </dgm:t>
    </dgm:pt>
    <dgm:pt modelId="{353D6207-E91D-4E89-917A-46912E9E39F5}" type="sibTrans" cxnId="{CE1254CE-DCBB-40F7-94E3-02ADF1B7DCD8}">
      <dgm:prSet/>
      <dgm:spPr/>
      <dgm:t>
        <a:bodyPr/>
        <a:lstStyle/>
        <a:p>
          <a:endParaRPr lang="en-IN"/>
        </a:p>
      </dgm:t>
    </dgm:pt>
    <dgm:pt modelId="{ED5AD85B-6F52-48E9-BF4B-3234DD8153F9}">
      <dgm:prSet custT="1"/>
      <dgm:spPr/>
      <dgm:t>
        <a:bodyPr/>
        <a:lstStyle/>
        <a:p>
          <a:r>
            <a:rPr lang="en-US" sz="800" dirty="0"/>
            <a:t>Leave Quota Recalculation on account of Transfers – Location and Company Transfers</a:t>
          </a:r>
          <a:endParaRPr lang="en-IN" sz="800" dirty="0"/>
        </a:p>
      </dgm:t>
    </dgm:pt>
    <dgm:pt modelId="{E72E489A-42D5-470F-8F55-C19F13DD5FF1}" type="parTrans" cxnId="{DC5CBB5C-E2E8-49F5-9A93-8B0FFAFCB2A6}">
      <dgm:prSet/>
      <dgm:spPr/>
      <dgm:t>
        <a:bodyPr/>
        <a:lstStyle/>
        <a:p>
          <a:endParaRPr lang="en-IN"/>
        </a:p>
      </dgm:t>
    </dgm:pt>
    <dgm:pt modelId="{AAC3B842-B8FA-4A9A-BC36-87DC635384FF}" type="sibTrans" cxnId="{DC5CBB5C-E2E8-49F5-9A93-8B0FFAFCB2A6}">
      <dgm:prSet/>
      <dgm:spPr/>
      <dgm:t>
        <a:bodyPr/>
        <a:lstStyle/>
        <a:p>
          <a:endParaRPr lang="en-IN"/>
        </a:p>
      </dgm:t>
    </dgm:pt>
    <dgm:pt modelId="{9C10B516-830A-4003-A97F-20F00A24B1FF}">
      <dgm:prSet custT="1"/>
      <dgm:spPr/>
      <dgm:t>
        <a:bodyPr/>
        <a:lstStyle/>
        <a:p>
          <a:r>
            <a:rPr lang="en-US" sz="800" dirty="0"/>
            <a:t>Leave Quota Recalculation on Promotion – Grade Changes</a:t>
          </a:r>
          <a:endParaRPr lang="en-IN" sz="800" dirty="0"/>
        </a:p>
      </dgm:t>
    </dgm:pt>
    <dgm:pt modelId="{1C4F67E8-0D7D-4D9E-AA87-B8C0D1089A25}" type="parTrans" cxnId="{B3039028-769F-46F2-9A2B-91AF2601D3E2}">
      <dgm:prSet/>
      <dgm:spPr/>
      <dgm:t>
        <a:bodyPr/>
        <a:lstStyle/>
        <a:p>
          <a:endParaRPr lang="en-IN"/>
        </a:p>
      </dgm:t>
    </dgm:pt>
    <dgm:pt modelId="{4E95D32B-6988-4E12-961D-D97BFC151CF3}" type="sibTrans" cxnId="{B3039028-769F-46F2-9A2B-91AF2601D3E2}">
      <dgm:prSet/>
      <dgm:spPr/>
      <dgm:t>
        <a:bodyPr/>
        <a:lstStyle/>
        <a:p>
          <a:endParaRPr lang="en-IN"/>
        </a:p>
      </dgm:t>
    </dgm:pt>
    <dgm:pt modelId="{026DF036-AB37-4A4A-B484-B715EB7F0D20}">
      <dgm:prSet custT="1"/>
      <dgm:spPr/>
      <dgm:t>
        <a:bodyPr/>
        <a:lstStyle/>
        <a:p>
          <a:r>
            <a:rPr lang="en-US" sz="800" dirty="0"/>
            <a:t>Outstanding Regularization requests</a:t>
          </a:r>
          <a:endParaRPr lang="en-IN" sz="800" dirty="0"/>
        </a:p>
      </dgm:t>
    </dgm:pt>
    <dgm:pt modelId="{D79446CC-6747-405B-B0B3-0778FD9CF658}" type="parTrans" cxnId="{34B637F9-39FB-464C-B3C1-8786129226A3}">
      <dgm:prSet/>
      <dgm:spPr/>
      <dgm:t>
        <a:bodyPr/>
        <a:lstStyle/>
        <a:p>
          <a:endParaRPr lang="en-IN"/>
        </a:p>
      </dgm:t>
    </dgm:pt>
    <dgm:pt modelId="{81E51775-CC99-4560-A413-FCB9E02CDF1E}" type="sibTrans" cxnId="{34B637F9-39FB-464C-B3C1-8786129226A3}">
      <dgm:prSet/>
      <dgm:spPr/>
      <dgm:t>
        <a:bodyPr/>
        <a:lstStyle/>
        <a:p>
          <a:endParaRPr lang="en-IN"/>
        </a:p>
      </dgm:t>
    </dgm:pt>
    <dgm:pt modelId="{FC2DE6BC-98C3-48E8-8FB4-10FB8057031C}">
      <dgm:prSet custT="1"/>
      <dgm:spPr/>
      <dgm:t>
        <a:bodyPr/>
        <a:lstStyle/>
        <a:p>
          <a:r>
            <a:rPr lang="en-US" sz="800" dirty="0"/>
            <a:t>Outstanding Leave Requests</a:t>
          </a:r>
          <a:endParaRPr lang="en-IN" sz="800" dirty="0"/>
        </a:p>
      </dgm:t>
    </dgm:pt>
    <dgm:pt modelId="{C66844F9-3349-422F-9046-38628CB8FE7A}" type="parTrans" cxnId="{64567268-DAF9-45C9-9815-C84AC7550458}">
      <dgm:prSet/>
      <dgm:spPr/>
      <dgm:t>
        <a:bodyPr/>
        <a:lstStyle/>
        <a:p>
          <a:endParaRPr lang="en-IN"/>
        </a:p>
      </dgm:t>
    </dgm:pt>
    <dgm:pt modelId="{9CAC06B7-A0D4-4C5C-8C8E-527605FAFF64}" type="sibTrans" cxnId="{64567268-DAF9-45C9-9815-C84AC7550458}">
      <dgm:prSet/>
      <dgm:spPr/>
      <dgm:t>
        <a:bodyPr/>
        <a:lstStyle/>
        <a:p>
          <a:endParaRPr lang="en-IN"/>
        </a:p>
      </dgm:t>
    </dgm:pt>
    <dgm:pt modelId="{CC3146EC-5CC7-42BF-9461-8AAE449B6D5B}">
      <dgm:prSet custT="1"/>
      <dgm:spPr/>
      <dgm:t>
        <a:bodyPr/>
        <a:lstStyle/>
        <a:p>
          <a:r>
            <a:rPr lang="en-US" sz="800" dirty="0"/>
            <a:t>Abscondence Management Initiation</a:t>
          </a:r>
          <a:endParaRPr lang="en-IN" sz="800" dirty="0"/>
        </a:p>
      </dgm:t>
    </dgm:pt>
    <dgm:pt modelId="{68340AE5-9A56-4F3C-B044-71AE61A17B0C}" type="parTrans" cxnId="{979449E7-D007-4525-A36A-D01D3D731723}">
      <dgm:prSet/>
      <dgm:spPr/>
      <dgm:t>
        <a:bodyPr/>
        <a:lstStyle/>
        <a:p>
          <a:endParaRPr lang="en-IN"/>
        </a:p>
      </dgm:t>
    </dgm:pt>
    <dgm:pt modelId="{637624EE-03CF-4515-919F-BD1A1F1EF824}" type="sibTrans" cxnId="{979449E7-D007-4525-A36A-D01D3D731723}">
      <dgm:prSet/>
      <dgm:spPr/>
      <dgm:t>
        <a:bodyPr/>
        <a:lstStyle/>
        <a:p>
          <a:endParaRPr lang="en-IN"/>
        </a:p>
      </dgm:t>
    </dgm:pt>
    <dgm:pt modelId="{FBF53AB5-3E2D-42EA-A386-C82954DF3BD8}">
      <dgm:prSet custT="1"/>
      <dgm:spPr/>
      <dgm:t>
        <a:bodyPr/>
        <a:lstStyle/>
        <a:p>
          <a:r>
            <a:rPr lang="en-US" sz="800" dirty="0"/>
            <a:t>3 days continuous absence notification trigger</a:t>
          </a:r>
          <a:endParaRPr lang="en-IN" sz="800" dirty="0"/>
        </a:p>
      </dgm:t>
    </dgm:pt>
    <dgm:pt modelId="{E35D265B-BD33-476E-8520-C0E77795DB9B}" type="parTrans" cxnId="{50B210DA-0472-438B-AD95-EC2E5CE64DE2}">
      <dgm:prSet/>
      <dgm:spPr/>
      <dgm:t>
        <a:bodyPr/>
        <a:lstStyle/>
        <a:p>
          <a:endParaRPr lang="en-IN"/>
        </a:p>
      </dgm:t>
    </dgm:pt>
    <dgm:pt modelId="{3CFD5DF9-BF9F-4CF5-92B4-C779F210DEC3}" type="sibTrans" cxnId="{50B210DA-0472-438B-AD95-EC2E5CE64DE2}">
      <dgm:prSet/>
      <dgm:spPr/>
      <dgm:t>
        <a:bodyPr/>
        <a:lstStyle/>
        <a:p>
          <a:endParaRPr lang="en-IN"/>
        </a:p>
      </dgm:t>
    </dgm:pt>
    <dgm:pt modelId="{D562BF02-1012-47B1-A3A7-070F7E5A8E50}" type="pres">
      <dgm:prSet presAssocID="{F5645655-7827-4BCD-9C8D-6D76206697EF}" presName="linearFlow" presStyleCnt="0">
        <dgm:presLayoutVars>
          <dgm:dir/>
          <dgm:animLvl val="lvl"/>
          <dgm:resizeHandles val="exact"/>
        </dgm:presLayoutVars>
      </dgm:prSet>
      <dgm:spPr/>
    </dgm:pt>
    <dgm:pt modelId="{29CD0C00-FB83-43D0-91F2-DA5170BC86E9}" type="pres">
      <dgm:prSet presAssocID="{791A69F8-359F-4C96-B391-3778F99A29CB}" presName="composite" presStyleCnt="0"/>
      <dgm:spPr/>
    </dgm:pt>
    <dgm:pt modelId="{E1895196-D622-405A-AFB0-47B3B64F1DCD}" type="pres">
      <dgm:prSet presAssocID="{791A69F8-359F-4C96-B391-3778F99A29CB}" presName="parentText" presStyleLbl="alignNode1" presStyleIdx="0" presStyleCnt="7" custScaleX="110000" custLinFactNeighborX="10367" custLinFactNeighborY="6222">
        <dgm:presLayoutVars>
          <dgm:chMax val="1"/>
          <dgm:bulletEnabled val="1"/>
        </dgm:presLayoutVars>
      </dgm:prSet>
      <dgm:spPr/>
    </dgm:pt>
    <dgm:pt modelId="{0D5DCD5C-A4E6-4597-8493-EF6F3ABDF319}" type="pres">
      <dgm:prSet presAssocID="{791A69F8-359F-4C96-B391-3778F99A29CB}" presName="descendantText" presStyleLbl="alignAcc1" presStyleIdx="0" presStyleCnt="7" custScaleX="97636" custLinFactNeighborX="555" custLinFactNeighborY="11526">
        <dgm:presLayoutVars>
          <dgm:bulletEnabled val="1"/>
        </dgm:presLayoutVars>
      </dgm:prSet>
      <dgm:spPr/>
    </dgm:pt>
    <dgm:pt modelId="{117B9013-2A4D-4BCD-BF5F-6447A4FBBD9C}" type="pres">
      <dgm:prSet presAssocID="{9BF4ED28-E155-448B-A318-9F80D03F4122}" presName="sp" presStyleCnt="0"/>
      <dgm:spPr/>
    </dgm:pt>
    <dgm:pt modelId="{8FAB6515-D793-49DA-9BC9-291D8465BCC0}" type="pres">
      <dgm:prSet presAssocID="{47DE7789-3991-407B-9306-646A5D51F303}" presName="composite" presStyleCnt="0"/>
      <dgm:spPr/>
    </dgm:pt>
    <dgm:pt modelId="{2EAF7D0D-2BB3-4633-B850-5CD551168350}" type="pres">
      <dgm:prSet presAssocID="{47DE7789-3991-407B-9306-646A5D51F303}" presName="parentText" presStyleLbl="alignNode1" presStyleIdx="1" presStyleCnt="7" custScaleX="110000" custLinFactNeighborX="10367" custLinFactNeighborY="6222">
        <dgm:presLayoutVars>
          <dgm:chMax val="1"/>
          <dgm:bulletEnabled val="1"/>
        </dgm:presLayoutVars>
      </dgm:prSet>
      <dgm:spPr/>
    </dgm:pt>
    <dgm:pt modelId="{7E1528D9-BDB8-4405-A008-7162A26A2389}" type="pres">
      <dgm:prSet presAssocID="{47DE7789-3991-407B-9306-646A5D51F303}" presName="descendantText" presStyleLbl="alignAcc1" presStyleIdx="1" presStyleCnt="7" custScaleX="96627" custLinFactNeighborX="557" custLinFactNeighborY="12196">
        <dgm:presLayoutVars>
          <dgm:bulletEnabled val="1"/>
        </dgm:presLayoutVars>
      </dgm:prSet>
      <dgm:spPr/>
    </dgm:pt>
    <dgm:pt modelId="{A7B68488-3FCF-40E2-B3D9-F8100821E7FD}" type="pres">
      <dgm:prSet presAssocID="{43505DEC-65D6-47C3-A67F-C47DAEF126DA}" presName="sp" presStyleCnt="0"/>
      <dgm:spPr/>
    </dgm:pt>
    <dgm:pt modelId="{D9A459EB-0CE6-4476-878C-1C2B6639BD79}" type="pres">
      <dgm:prSet presAssocID="{AC25B001-F586-403A-BB5C-C016C4CD50DB}" presName="composite" presStyleCnt="0"/>
      <dgm:spPr/>
    </dgm:pt>
    <dgm:pt modelId="{C9B4F4DF-CC93-4634-B413-E7C2EC051F40}" type="pres">
      <dgm:prSet presAssocID="{AC25B001-F586-403A-BB5C-C016C4CD50DB}" presName="parentText" presStyleLbl="alignNode1" presStyleIdx="2" presStyleCnt="7" custScaleX="110000" custLinFactNeighborX="10367" custLinFactNeighborY="6222">
        <dgm:presLayoutVars>
          <dgm:chMax val="1"/>
          <dgm:bulletEnabled val="1"/>
        </dgm:presLayoutVars>
      </dgm:prSet>
      <dgm:spPr/>
    </dgm:pt>
    <dgm:pt modelId="{0C9FB1E9-8B01-4B29-8D21-2CC53D06ECAE}" type="pres">
      <dgm:prSet presAssocID="{AC25B001-F586-403A-BB5C-C016C4CD50DB}" presName="descendantText" presStyleLbl="alignAcc1" presStyleIdx="2" presStyleCnt="7" custScaleX="97636" custLinFactNeighborX="1092" custLinFactNeighborY="11066">
        <dgm:presLayoutVars>
          <dgm:bulletEnabled val="1"/>
        </dgm:presLayoutVars>
      </dgm:prSet>
      <dgm:spPr/>
    </dgm:pt>
    <dgm:pt modelId="{45678BF1-5550-4F1A-BD5E-EAE65631ECAF}" type="pres">
      <dgm:prSet presAssocID="{3A5E9BD6-70DE-40CA-A9E8-8EEC6BF9D7D0}" presName="sp" presStyleCnt="0"/>
      <dgm:spPr/>
    </dgm:pt>
    <dgm:pt modelId="{6097BBDA-D227-46C2-843C-3582AAFE7A20}" type="pres">
      <dgm:prSet presAssocID="{DDB3CBB4-59AC-4CD6-A223-E69F03AFBC26}" presName="composite" presStyleCnt="0"/>
      <dgm:spPr/>
    </dgm:pt>
    <dgm:pt modelId="{28238B0B-B251-4D11-9FFC-861665409535}" type="pres">
      <dgm:prSet presAssocID="{DDB3CBB4-59AC-4CD6-A223-E69F03AFBC26}" presName="parentText" presStyleLbl="alignNode1" presStyleIdx="3" presStyleCnt="7" custScaleX="110000" custLinFactNeighborX="10367" custLinFactNeighborY="6222">
        <dgm:presLayoutVars>
          <dgm:chMax val="1"/>
          <dgm:bulletEnabled val="1"/>
        </dgm:presLayoutVars>
      </dgm:prSet>
      <dgm:spPr/>
    </dgm:pt>
    <dgm:pt modelId="{1C714012-CFD2-4D73-A7D4-8FE3E0BD3098}" type="pres">
      <dgm:prSet presAssocID="{DDB3CBB4-59AC-4CD6-A223-E69F03AFBC26}" presName="descendantText" presStyleLbl="alignAcc1" presStyleIdx="3" presStyleCnt="7" custScaleX="96705" custLinFactNeighborX="296" custLinFactNeighborY="11724">
        <dgm:presLayoutVars>
          <dgm:bulletEnabled val="1"/>
        </dgm:presLayoutVars>
      </dgm:prSet>
      <dgm:spPr/>
    </dgm:pt>
    <dgm:pt modelId="{752F6E06-9560-4D64-A28B-34D82D378BFE}" type="pres">
      <dgm:prSet presAssocID="{2AE3CDDF-79A4-4B66-A080-046BE3683405}" presName="sp" presStyleCnt="0"/>
      <dgm:spPr/>
    </dgm:pt>
    <dgm:pt modelId="{D360391E-3CC6-40A9-8BAE-5719E8C67347}" type="pres">
      <dgm:prSet presAssocID="{7CBBC6BB-1AA3-42BF-B541-C8D254610650}" presName="composite" presStyleCnt="0"/>
      <dgm:spPr/>
    </dgm:pt>
    <dgm:pt modelId="{E7BF9EBA-ED03-49AD-8137-EF867D2B11F3}" type="pres">
      <dgm:prSet presAssocID="{7CBBC6BB-1AA3-42BF-B541-C8D254610650}" presName="parentText" presStyleLbl="alignNode1" presStyleIdx="4" presStyleCnt="7" custScaleX="110000" custLinFactNeighborX="10367" custLinFactNeighborY="6222">
        <dgm:presLayoutVars>
          <dgm:chMax val="1"/>
          <dgm:bulletEnabled val="1"/>
        </dgm:presLayoutVars>
      </dgm:prSet>
      <dgm:spPr/>
    </dgm:pt>
    <dgm:pt modelId="{331694F3-556F-4300-8E77-BC617D4584F8}" type="pres">
      <dgm:prSet presAssocID="{7CBBC6BB-1AA3-42BF-B541-C8D254610650}" presName="descendantText" presStyleLbl="alignAcc1" presStyleIdx="4" presStyleCnt="7" custScaleX="97111" custLinFactNeighborX="819" custLinFactNeighborY="13227">
        <dgm:presLayoutVars>
          <dgm:bulletEnabled val="1"/>
        </dgm:presLayoutVars>
      </dgm:prSet>
      <dgm:spPr/>
    </dgm:pt>
    <dgm:pt modelId="{24451768-0D88-4C04-BDB7-A989F5762C4A}" type="pres">
      <dgm:prSet presAssocID="{20641255-4CF0-4E8D-AD8F-9DC52A72C9EC}" presName="sp" presStyleCnt="0"/>
      <dgm:spPr/>
    </dgm:pt>
    <dgm:pt modelId="{B254829A-2F46-4F3D-9AEF-7371B8DA936F}" type="pres">
      <dgm:prSet presAssocID="{77AB0560-24EC-4E46-994C-95C0C60B6E8B}" presName="composite" presStyleCnt="0"/>
      <dgm:spPr/>
    </dgm:pt>
    <dgm:pt modelId="{5E8D2D60-2C8B-4B7E-A3D8-08633C3FFB7F}" type="pres">
      <dgm:prSet presAssocID="{77AB0560-24EC-4E46-994C-95C0C60B6E8B}" presName="parentText" presStyleLbl="alignNode1" presStyleIdx="5" presStyleCnt="7" custScaleX="110000" custLinFactNeighborX="10367" custLinFactNeighborY="6222">
        <dgm:presLayoutVars>
          <dgm:chMax val="1"/>
          <dgm:bulletEnabled val="1"/>
        </dgm:presLayoutVars>
      </dgm:prSet>
      <dgm:spPr/>
    </dgm:pt>
    <dgm:pt modelId="{CC0B9AD5-600A-4C22-9926-D053FAE77342}" type="pres">
      <dgm:prSet presAssocID="{77AB0560-24EC-4E46-994C-95C0C60B6E8B}" presName="descendantText" presStyleLbl="alignAcc1" presStyleIdx="5" presStyleCnt="7" custScaleX="97377" custLinFactNeighborX="793" custLinFactNeighborY="19142">
        <dgm:presLayoutVars>
          <dgm:bulletEnabled val="1"/>
        </dgm:presLayoutVars>
      </dgm:prSet>
      <dgm:spPr/>
    </dgm:pt>
    <dgm:pt modelId="{C5A062D7-B51D-4397-A82B-ACCDEBDE79CD}" type="pres">
      <dgm:prSet presAssocID="{B21EA1AC-4383-4BE2-9572-272288ADD791}" presName="sp" presStyleCnt="0"/>
      <dgm:spPr/>
    </dgm:pt>
    <dgm:pt modelId="{B3BAEDD5-AFF3-461C-A1FE-CA02BD84779C}" type="pres">
      <dgm:prSet presAssocID="{99E7E68B-7868-4CF9-879E-042E755DAB23}" presName="composite" presStyleCnt="0"/>
      <dgm:spPr/>
    </dgm:pt>
    <dgm:pt modelId="{29FB5C22-AEC3-4419-A3F1-C4A0A4471640}" type="pres">
      <dgm:prSet presAssocID="{99E7E68B-7868-4CF9-879E-042E755DAB23}" presName="parentText" presStyleLbl="alignNode1" presStyleIdx="6" presStyleCnt="7" custScaleX="110000" custLinFactNeighborX="10367" custLinFactNeighborY="621">
        <dgm:presLayoutVars>
          <dgm:chMax val="1"/>
          <dgm:bulletEnabled val="1"/>
        </dgm:presLayoutVars>
      </dgm:prSet>
      <dgm:spPr/>
    </dgm:pt>
    <dgm:pt modelId="{21EFDA49-566A-4546-BAD6-F680591BC8CD}" type="pres">
      <dgm:prSet presAssocID="{99E7E68B-7868-4CF9-879E-042E755DAB23}" presName="descendantText" presStyleLbl="alignAcc1" presStyleIdx="6" presStyleCnt="7" custScaleX="96525" custLinFactNeighborX="417" custLinFactNeighborY="14356">
        <dgm:presLayoutVars>
          <dgm:bulletEnabled val="1"/>
        </dgm:presLayoutVars>
      </dgm:prSet>
      <dgm:spPr/>
    </dgm:pt>
  </dgm:ptLst>
  <dgm:cxnLst>
    <dgm:cxn modelId="{4D9BEF06-B8F4-41B3-B3EA-D1607E70C5C6}" type="presOf" srcId="{ED5AD85B-6F52-48E9-BF4B-3234DD8153F9}" destId="{331694F3-556F-4300-8E77-BC617D4584F8}" srcOrd="0" destOrd="0" presId="urn:microsoft.com/office/officeart/2005/8/layout/chevron2"/>
    <dgm:cxn modelId="{71F4910D-D301-40C6-BF67-5CA7A3F45C4A}" type="presOf" srcId="{D48E90C1-AEFC-444E-B284-81D8038D4D47}" destId="{0C9FB1E9-8B01-4B29-8D21-2CC53D06ECAE}" srcOrd="0" destOrd="1" presId="urn:microsoft.com/office/officeart/2005/8/layout/chevron2"/>
    <dgm:cxn modelId="{64F12E1D-89BD-45D6-A62A-BE28391F30C7}" srcId="{F5645655-7827-4BCD-9C8D-6D76206697EF}" destId="{791A69F8-359F-4C96-B391-3778F99A29CB}" srcOrd="0" destOrd="0" parTransId="{F0654550-905F-442D-AB03-8A21BC13F086}" sibTransId="{9BF4ED28-E155-448B-A318-9F80D03F4122}"/>
    <dgm:cxn modelId="{B0E2F320-8AE9-4536-BD66-5CEB34FA2A4E}" type="presOf" srcId="{77AB0560-24EC-4E46-994C-95C0C60B6E8B}" destId="{5E8D2D60-2C8B-4B7E-A3D8-08633C3FFB7F}" srcOrd="0" destOrd="0" presId="urn:microsoft.com/office/officeart/2005/8/layout/chevron2"/>
    <dgm:cxn modelId="{B3039028-769F-46F2-9A2B-91AF2601D3E2}" srcId="{7CBBC6BB-1AA3-42BF-B541-C8D254610650}" destId="{9C10B516-830A-4003-A97F-20F00A24B1FF}" srcOrd="1" destOrd="0" parTransId="{1C4F67E8-0D7D-4D9E-AA87-B8C0D1089A25}" sibTransId="{4E95D32B-6988-4E12-961D-D97BFC151CF3}"/>
    <dgm:cxn modelId="{CF1E7F2D-B9C6-4F7B-AB1F-DAC20EF88EFE}" type="presOf" srcId="{026DF036-AB37-4A4A-B484-B715EB7F0D20}" destId="{CC0B9AD5-600A-4C22-9926-D053FAE77342}" srcOrd="0" destOrd="0" presId="urn:microsoft.com/office/officeart/2005/8/layout/chevron2"/>
    <dgm:cxn modelId="{89E61933-FB5D-40B8-9593-4226006991C3}" type="presOf" srcId="{AC25B001-F586-403A-BB5C-C016C4CD50DB}" destId="{C9B4F4DF-CC93-4634-B413-E7C2EC051F40}" srcOrd="0" destOrd="0" presId="urn:microsoft.com/office/officeart/2005/8/layout/chevron2"/>
    <dgm:cxn modelId="{C1845C36-23D3-ED4D-8027-05C6EAAFF867}" type="presOf" srcId="{CC3146EC-5CC7-42BF-9461-8AAE449B6D5B}" destId="{21EFDA49-566A-4546-BAD6-F680591BC8CD}" srcOrd="0" destOrd="1" presId="urn:microsoft.com/office/officeart/2005/8/layout/chevron2"/>
    <dgm:cxn modelId="{B88BFF37-E315-422C-AE83-B90075D7FBE5}" type="presOf" srcId="{F5645655-7827-4BCD-9C8D-6D76206697EF}" destId="{D562BF02-1012-47B1-A3A7-070F7E5A8E50}" srcOrd="0" destOrd="0" presId="urn:microsoft.com/office/officeart/2005/8/layout/chevron2"/>
    <dgm:cxn modelId="{6507D738-8A87-4A10-A301-F3122B105AE5}" srcId="{47DE7789-3991-407B-9306-646A5D51F303}" destId="{17162CCC-094C-4796-8CAF-CE7AD92C61C6}" srcOrd="1" destOrd="0" parTransId="{D31B02C7-0409-4ED4-B745-E7B9603CF4C2}" sibTransId="{8E423099-30F2-45C6-8CEF-B566EC1C7346}"/>
    <dgm:cxn modelId="{08D9093C-B5B5-4D18-93D7-50C9970CC613}" type="presOf" srcId="{CBCDBA4B-753A-4507-978C-AF273F726DF6}" destId="{0D5DCD5C-A4E6-4597-8493-EF6F3ABDF319}" srcOrd="0" destOrd="0" presId="urn:microsoft.com/office/officeart/2005/8/layout/chevron2"/>
    <dgm:cxn modelId="{56651F48-7CC1-4A6E-8B56-A4D610B16927}" type="presOf" srcId="{17162CCC-094C-4796-8CAF-CE7AD92C61C6}" destId="{7E1528D9-BDB8-4405-A008-7162A26A2389}" srcOrd="0" destOrd="1" presId="urn:microsoft.com/office/officeart/2005/8/layout/chevron2"/>
    <dgm:cxn modelId="{B4B64D4A-A68D-465D-91A0-5EA26823A518}" type="presOf" srcId="{9C10B516-830A-4003-A97F-20F00A24B1FF}" destId="{331694F3-556F-4300-8E77-BC617D4584F8}" srcOrd="0" destOrd="1" presId="urn:microsoft.com/office/officeart/2005/8/layout/chevron2"/>
    <dgm:cxn modelId="{E423B857-4C25-483A-8278-D930A09FE1F1}" srcId="{791A69F8-359F-4C96-B391-3778F99A29CB}" destId="{451C0CD4-75EB-4838-8384-662ED76C2A90}" srcOrd="1" destOrd="0" parTransId="{B23BE8B2-70E9-41E9-AC4B-1D471E0A625A}" sibTransId="{9A042EC1-E352-41FC-A4C0-C9FE3F5A229C}"/>
    <dgm:cxn modelId="{DC5CBB5C-E2E8-49F5-9A93-8B0FFAFCB2A6}" srcId="{7CBBC6BB-1AA3-42BF-B541-C8D254610650}" destId="{ED5AD85B-6F52-48E9-BF4B-3234DD8153F9}" srcOrd="0" destOrd="0" parTransId="{E72E489A-42D5-470F-8F55-C19F13DD5FF1}" sibTransId="{AAC3B842-B8FA-4A9A-BC36-87DC635384FF}"/>
    <dgm:cxn modelId="{E8126564-1806-458E-872C-883EA145B730}" type="presOf" srcId="{791A69F8-359F-4C96-B391-3778F99A29CB}" destId="{E1895196-D622-405A-AFB0-47B3B64F1DCD}" srcOrd="0" destOrd="0" presId="urn:microsoft.com/office/officeart/2005/8/layout/chevron2"/>
    <dgm:cxn modelId="{64567268-DAF9-45C9-9815-C84AC7550458}" srcId="{77AB0560-24EC-4E46-994C-95C0C60B6E8B}" destId="{FC2DE6BC-98C3-48E8-8FB4-10FB8057031C}" srcOrd="1" destOrd="0" parTransId="{C66844F9-3349-422F-9046-38628CB8FE7A}" sibTransId="{9CAC06B7-A0D4-4C5C-8C8E-527605FAFF64}"/>
    <dgm:cxn modelId="{63E44C6A-6A23-4368-BCA7-92E86AA24AF4}" srcId="{AC25B001-F586-403A-BB5C-C016C4CD50DB}" destId="{D48E90C1-AEFC-444E-B284-81D8038D4D47}" srcOrd="1" destOrd="0" parTransId="{2756BC17-2906-4F0E-9C01-2900535DB20F}" sibTransId="{C37859EF-525D-4CF2-8137-E39DAB1DEDFC}"/>
    <dgm:cxn modelId="{AF9A7E7B-0351-4E5A-A563-BE41D187FE73}" type="presOf" srcId="{DDB3CBB4-59AC-4CD6-A223-E69F03AFBC26}" destId="{28238B0B-B251-4D11-9FFC-861665409535}" srcOrd="0" destOrd="0" presId="urn:microsoft.com/office/officeart/2005/8/layout/chevron2"/>
    <dgm:cxn modelId="{77C0D189-CB7D-4BA1-AD72-FC746CCE07E2}" srcId="{F5645655-7827-4BCD-9C8D-6D76206697EF}" destId="{77AB0560-24EC-4E46-994C-95C0C60B6E8B}" srcOrd="5" destOrd="0" parTransId="{0DDD1F57-F62C-4D47-A628-6E0A0C3F9FBA}" sibTransId="{B21EA1AC-4383-4BE2-9572-272288ADD791}"/>
    <dgm:cxn modelId="{8CD2068B-188E-4559-A019-854A69C81109}" type="presOf" srcId="{FC2DE6BC-98C3-48E8-8FB4-10FB8057031C}" destId="{CC0B9AD5-600A-4C22-9926-D053FAE77342}" srcOrd="0" destOrd="1" presId="urn:microsoft.com/office/officeart/2005/8/layout/chevron2"/>
    <dgm:cxn modelId="{182DBB90-D963-44A2-9220-DF117D741BE9}" type="presOf" srcId="{66BE73A8-7E4F-4EFF-8A04-04A5A36F4E53}" destId="{7E1528D9-BDB8-4405-A008-7162A26A2389}" srcOrd="0" destOrd="0" presId="urn:microsoft.com/office/officeart/2005/8/layout/chevron2"/>
    <dgm:cxn modelId="{AED2E592-01F8-45EB-9D6F-9181E20613BA}" srcId="{F5645655-7827-4BCD-9C8D-6D76206697EF}" destId="{AC25B001-F586-403A-BB5C-C016C4CD50DB}" srcOrd="2" destOrd="0" parTransId="{76CE337A-6853-4C5D-BDCF-33FCAFB024FF}" sibTransId="{3A5E9BD6-70DE-40CA-A9E8-8EEC6BF9D7D0}"/>
    <dgm:cxn modelId="{4A6553A0-07E2-4F6A-92B3-AB8A64A030DB}" srcId="{F5645655-7827-4BCD-9C8D-6D76206697EF}" destId="{DDB3CBB4-59AC-4CD6-A223-E69F03AFBC26}" srcOrd="3" destOrd="0" parTransId="{6DF0DF50-6124-4196-AD09-4481E1921F80}" sibTransId="{2AE3CDDF-79A4-4B66-A080-046BE3683405}"/>
    <dgm:cxn modelId="{284041A9-5A70-4F53-9A34-555F02D99A21}" srcId="{AC25B001-F586-403A-BB5C-C016C4CD50DB}" destId="{0584F6EE-6F59-47DB-A4B7-67BAFCED0906}" srcOrd="0" destOrd="0" parTransId="{2B66B5FE-DB8E-4B3C-A335-DE412F509887}" sibTransId="{5FA27D4A-D277-40FF-BFD5-688353BCC56E}"/>
    <dgm:cxn modelId="{6AFB18AD-EF10-4112-9548-694D555BC18F}" srcId="{791A69F8-359F-4C96-B391-3778F99A29CB}" destId="{CBCDBA4B-753A-4507-978C-AF273F726DF6}" srcOrd="0" destOrd="0" parTransId="{0DA7FFC2-FE7D-4AE0-BCA4-366256C82E4F}" sibTransId="{15BC3984-39E0-45E7-9DC9-CC647FE05AC2}"/>
    <dgm:cxn modelId="{579A5CB3-A6F9-493C-8C12-49B701C757D1}" type="presOf" srcId="{7CBBC6BB-1AA3-42BF-B541-C8D254610650}" destId="{E7BF9EBA-ED03-49AD-8137-EF867D2B11F3}" srcOrd="0" destOrd="0" presId="urn:microsoft.com/office/officeart/2005/8/layout/chevron2"/>
    <dgm:cxn modelId="{4F68CDBA-D0FF-469A-860B-F01763C4B29C}" type="presOf" srcId="{451C0CD4-75EB-4838-8384-662ED76C2A90}" destId="{0D5DCD5C-A4E6-4597-8493-EF6F3ABDF319}" srcOrd="0" destOrd="1" presId="urn:microsoft.com/office/officeart/2005/8/layout/chevron2"/>
    <dgm:cxn modelId="{5A54FFC1-710B-4A1F-B087-86E43420C64A}" type="presOf" srcId="{CC6C68B4-81BF-45F0-9EEA-78B739248DA2}" destId="{1C714012-CFD2-4D73-A7D4-8FE3E0BD3098}" srcOrd="0" destOrd="0" presId="urn:microsoft.com/office/officeart/2005/8/layout/chevron2"/>
    <dgm:cxn modelId="{8BF7E2C2-C924-47EF-800E-4F8120EA2346}" srcId="{F5645655-7827-4BCD-9C8D-6D76206697EF}" destId="{47DE7789-3991-407B-9306-646A5D51F303}" srcOrd="1" destOrd="0" parTransId="{2DD71FE4-DCA0-4B23-9B72-5127F156F3B6}" sibTransId="{43505DEC-65D6-47C3-A67F-C47DAEF126DA}"/>
    <dgm:cxn modelId="{849353C9-506C-4A85-B57D-FBABF33FF974}" srcId="{F5645655-7827-4BCD-9C8D-6D76206697EF}" destId="{7CBBC6BB-1AA3-42BF-B541-C8D254610650}" srcOrd="4" destOrd="0" parTransId="{BFE9BE39-3F23-40D3-9419-27433282D936}" sibTransId="{20641255-4CF0-4E8D-AD8F-9DC52A72C9EC}"/>
    <dgm:cxn modelId="{B46EA0CB-DB43-43EE-9C59-7A11FE610E09}" type="presOf" srcId="{0584F6EE-6F59-47DB-A4B7-67BAFCED0906}" destId="{0C9FB1E9-8B01-4B29-8D21-2CC53D06ECAE}" srcOrd="0" destOrd="0" presId="urn:microsoft.com/office/officeart/2005/8/layout/chevron2"/>
    <dgm:cxn modelId="{61522ACC-1A93-4EB6-A7E3-10ABF0E7BC05}" srcId="{47DE7789-3991-407B-9306-646A5D51F303}" destId="{66BE73A8-7E4F-4EFF-8A04-04A5A36F4E53}" srcOrd="0" destOrd="0" parTransId="{B793EAD8-CC23-434E-9F30-31389C8DE61E}" sibTransId="{179D886B-CBBC-48FF-A058-58D543DFE89F}"/>
    <dgm:cxn modelId="{CE1254CE-DCBB-40F7-94E3-02ADF1B7DCD8}" srcId="{DDB3CBB4-59AC-4CD6-A223-E69F03AFBC26}" destId="{CC6C68B4-81BF-45F0-9EEA-78B739248DA2}" srcOrd="0" destOrd="0" parTransId="{6F516155-3D62-49A9-AC22-A3403C09496F}" sibTransId="{353D6207-E91D-4E89-917A-46912E9E39F5}"/>
    <dgm:cxn modelId="{50B210DA-0472-438B-AD95-EC2E5CE64DE2}" srcId="{99E7E68B-7868-4CF9-879E-042E755DAB23}" destId="{FBF53AB5-3E2D-42EA-A386-C82954DF3BD8}" srcOrd="0" destOrd="0" parTransId="{E35D265B-BD33-476E-8520-C0E77795DB9B}" sibTransId="{3CFD5DF9-BF9F-4CF5-92B4-C779F210DEC3}"/>
    <dgm:cxn modelId="{D5CAF6DD-81B4-4602-9F18-128986FF43D6}" type="presOf" srcId="{47DE7789-3991-407B-9306-646A5D51F303}" destId="{2EAF7D0D-2BB3-4633-B850-5CD551168350}" srcOrd="0" destOrd="0" presId="urn:microsoft.com/office/officeart/2005/8/layout/chevron2"/>
    <dgm:cxn modelId="{E00BBFE0-88AA-48C4-811C-80CC43FB7B9D}" srcId="{F5645655-7827-4BCD-9C8D-6D76206697EF}" destId="{99E7E68B-7868-4CF9-879E-042E755DAB23}" srcOrd="6" destOrd="0" parTransId="{E1D23E61-E116-413F-B0D5-5648125DCA58}" sibTransId="{89D86126-1BFD-409F-8E5D-705753807C98}"/>
    <dgm:cxn modelId="{6996F0E3-18CB-744B-8D27-D5419582228E}" type="presOf" srcId="{FBF53AB5-3E2D-42EA-A386-C82954DF3BD8}" destId="{21EFDA49-566A-4546-BAD6-F680591BC8CD}" srcOrd="0" destOrd="0" presId="urn:microsoft.com/office/officeart/2005/8/layout/chevron2"/>
    <dgm:cxn modelId="{979449E7-D007-4525-A36A-D01D3D731723}" srcId="{99E7E68B-7868-4CF9-879E-042E755DAB23}" destId="{CC3146EC-5CC7-42BF-9461-8AAE449B6D5B}" srcOrd="1" destOrd="0" parTransId="{68340AE5-9A56-4F3C-B044-71AE61A17B0C}" sibTransId="{637624EE-03CF-4515-919F-BD1A1F1EF824}"/>
    <dgm:cxn modelId="{0E048FED-60E5-439C-93F3-B30480922B8B}" type="presOf" srcId="{99E7E68B-7868-4CF9-879E-042E755DAB23}" destId="{29FB5C22-AEC3-4419-A3F1-C4A0A4471640}" srcOrd="0" destOrd="0" presId="urn:microsoft.com/office/officeart/2005/8/layout/chevron2"/>
    <dgm:cxn modelId="{34B637F9-39FB-464C-B3C1-8786129226A3}" srcId="{77AB0560-24EC-4E46-994C-95C0C60B6E8B}" destId="{026DF036-AB37-4A4A-B484-B715EB7F0D20}" srcOrd="0" destOrd="0" parTransId="{D79446CC-6747-405B-B0B3-0778FD9CF658}" sibTransId="{81E51775-CC99-4560-A413-FCB9E02CDF1E}"/>
    <dgm:cxn modelId="{DCAEBC54-C030-438D-B7AB-2A1BC6C093CB}" type="presParOf" srcId="{D562BF02-1012-47B1-A3A7-070F7E5A8E50}" destId="{29CD0C00-FB83-43D0-91F2-DA5170BC86E9}" srcOrd="0" destOrd="0" presId="urn:microsoft.com/office/officeart/2005/8/layout/chevron2"/>
    <dgm:cxn modelId="{8CE5A92E-6BEC-455D-B64F-F57F95E773C8}" type="presParOf" srcId="{29CD0C00-FB83-43D0-91F2-DA5170BC86E9}" destId="{E1895196-D622-405A-AFB0-47B3B64F1DCD}" srcOrd="0" destOrd="0" presId="urn:microsoft.com/office/officeart/2005/8/layout/chevron2"/>
    <dgm:cxn modelId="{E41FC650-4B2C-4E7D-B667-45B44618F909}" type="presParOf" srcId="{29CD0C00-FB83-43D0-91F2-DA5170BC86E9}" destId="{0D5DCD5C-A4E6-4597-8493-EF6F3ABDF319}" srcOrd="1" destOrd="0" presId="urn:microsoft.com/office/officeart/2005/8/layout/chevron2"/>
    <dgm:cxn modelId="{3E6636FB-8100-4677-A301-195B1FE3D9C9}" type="presParOf" srcId="{D562BF02-1012-47B1-A3A7-070F7E5A8E50}" destId="{117B9013-2A4D-4BCD-BF5F-6447A4FBBD9C}" srcOrd="1" destOrd="0" presId="urn:microsoft.com/office/officeart/2005/8/layout/chevron2"/>
    <dgm:cxn modelId="{90BEA46B-2D7E-46FA-9ADE-30590C1FC534}" type="presParOf" srcId="{D562BF02-1012-47B1-A3A7-070F7E5A8E50}" destId="{8FAB6515-D793-49DA-9BC9-291D8465BCC0}" srcOrd="2" destOrd="0" presId="urn:microsoft.com/office/officeart/2005/8/layout/chevron2"/>
    <dgm:cxn modelId="{366C6111-F635-40FD-A870-BEB1006B9EE5}" type="presParOf" srcId="{8FAB6515-D793-49DA-9BC9-291D8465BCC0}" destId="{2EAF7D0D-2BB3-4633-B850-5CD551168350}" srcOrd="0" destOrd="0" presId="urn:microsoft.com/office/officeart/2005/8/layout/chevron2"/>
    <dgm:cxn modelId="{DA7457F5-4401-46E0-AE19-BC93094C9315}" type="presParOf" srcId="{8FAB6515-D793-49DA-9BC9-291D8465BCC0}" destId="{7E1528D9-BDB8-4405-A008-7162A26A2389}" srcOrd="1" destOrd="0" presId="urn:microsoft.com/office/officeart/2005/8/layout/chevron2"/>
    <dgm:cxn modelId="{DB6EF1B3-0A24-45CB-8428-9F1B5DA25C1F}" type="presParOf" srcId="{D562BF02-1012-47B1-A3A7-070F7E5A8E50}" destId="{A7B68488-3FCF-40E2-B3D9-F8100821E7FD}" srcOrd="3" destOrd="0" presId="urn:microsoft.com/office/officeart/2005/8/layout/chevron2"/>
    <dgm:cxn modelId="{83E04419-407B-4D09-8AFE-E1685BFFB905}" type="presParOf" srcId="{D562BF02-1012-47B1-A3A7-070F7E5A8E50}" destId="{D9A459EB-0CE6-4476-878C-1C2B6639BD79}" srcOrd="4" destOrd="0" presId="urn:microsoft.com/office/officeart/2005/8/layout/chevron2"/>
    <dgm:cxn modelId="{644061EA-CB9C-422F-A89C-844CFE4ECBF6}" type="presParOf" srcId="{D9A459EB-0CE6-4476-878C-1C2B6639BD79}" destId="{C9B4F4DF-CC93-4634-B413-E7C2EC051F40}" srcOrd="0" destOrd="0" presId="urn:microsoft.com/office/officeart/2005/8/layout/chevron2"/>
    <dgm:cxn modelId="{E1C57A0B-F54A-4134-8F6C-04416EC7F93A}" type="presParOf" srcId="{D9A459EB-0CE6-4476-878C-1C2B6639BD79}" destId="{0C9FB1E9-8B01-4B29-8D21-2CC53D06ECAE}" srcOrd="1" destOrd="0" presId="urn:microsoft.com/office/officeart/2005/8/layout/chevron2"/>
    <dgm:cxn modelId="{3E45F168-84B9-420C-8C55-BF84E151D869}" type="presParOf" srcId="{D562BF02-1012-47B1-A3A7-070F7E5A8E50}" destId="{45678BF1-5550-4F1A-BD5E-EAE65631ECAF}" srcOrd="5" destOrd="0" presId="urn:microsoft.com/office/officeart/2005/8/layout/chevron2"/>
    <dgm:cxn modelId="{43BF4132-0509-4DF6-A2B5-E2C1E1A96762}" type="presParOf" srcId="{D562BF02-1012-47B1-A3A7-070F7E5A8E50}" destId="{6097BBDA-D227-46C2-843C-3582AAFE7A20}" srcOrd="6" destOrd="0" presId="urn:microsoft.com/office/officeart/2005/8/layout/chevron2"/>
    <dgm:cxn modelId="{8985AE97-9D3F-4ACF-BF44-A66B2146ED03}" type="presParOf" srcId="{6097BBDA-D227-46C2-843C-3582AAFE7A20}" destId="{28238B0B-B251-4D11-9FFC-861665409535}" srcOrd="0" destOrd="0" presId="urn:microsoft.com/office/officeart/2005/8/layout/chevron2"/>
    <dgm:cxn modelId="{6D156289-21DC-428E-A816-E58FD58A6470}" type="presParOf" srcId="{6097BBDA-D227-46C2-843C-3582AAFE7A20}" destId="{1C714012-CFD2-4D73-A7D4-8FE3E0BD3098}" srcOrd="1" destOrd="0" presId="urn:microsoft.com/office/officeart/2005/8/layout/chevron2"/>
    <dgm:cxn modelId="{332AAE1F-C98B-4C3A-A6AB-B50D7A3FAA9A}" type="presParOf" srcId="{D562BF02-1012-47B1-A3A7-070F7E5A8E50}" destId="{752F6E06-9560-4D64-A28B-34D82D378BFE}" srcOrd="7" destOrd="0" presId="urn:microsoft.com/office/officeart/2005/8/layout/chevron2"/>
    <dgm:cxn modelId="{970A0001-D907-4719-8E49-9AA66D9041D1}" type="presParOf" srcId="{D562BF02-1012-47B1-A3A7-070F7E5A8E50}" destId="{D360391E-3CC6-40A9-8BAE-5719E8C67347}" srcOrd="8" destOrd="0" presId="urn:microsoft.com/office/officeart/2005/8/layout/chevron2"/>
    <dgm:cxn modelId="{58E96F3B-D7B3-4BC6-9194-9277362D1CB3}" type="presParOf" srcId="{D360391E-3CC6-40A9-8BAE-5719E8C67347}" destId="{E7BF9EBA-ED03-49AD-8137-EF867D2B11F3}" srcOrd="0" destOrd="0" presId="urn:microsoft.com/office/officeart/2005/8/layout/chevron2"/>
    <dgm:cxn modelId="{0E0F45CC-797B-4A54-BB11-9676AFD3BC8D}" type="presParOf" srcId="{D360391E-3CC6-40A9-8BAE-5719E8C67347}" destId="{331694F3-556F-4300-8E77-BC617D4584F8}" srcOrd="1" destOrd="0" presId="urn:microsoft.com/office/officeart/2005/8/layout/chevron2"/>
    <dgm:cxn modelId="{3F615F28-FBDC-4CE9-A291-F95690FC7CA9}" type="presParOf" srcId="{D562BF02-1012-47B1-A3A7-070F7E5A8E50}" destId="{24451768-0D88-4C04-BDB7-A989F5762C4A}" srcOrd="9" destOrd="0" presId="urn:microsoft.com/office/officeart/2005/8/layout/chevron2"/>
    <dgm:cxn modelId="{888348BD-0070-4868-986A-7A8D5E813D9F}" type="presParOf" srcId="{D562BF02-1012-47B1-A3A7-070F7E5A8E50}" destId="{B254829A-2F46-4F3D-9AEF-7371B8DA936F}" srcOrd="10" destOrd="0" presId="urn:microsoft.com/office/officeart/2005/8/layout/chevron2"/>
    <dgm:cxn modelId="{D4859301-1AC0-41FD-9421-64E654509711}" type="presParOf" srcId="{B254829A-2F46-4F3D-9AEF-7371B8DA936F}" destId="{5E8D2D60-2C8B-4B7E-A3D8-08633C3FFB7F}" srcOrd="0" destOrd="0" presId="urn:microsoft.com/office/officeart/2005/8/layout/chevron2"/>
    <dgm:cxn modelId="{B0E69878-0F5D-4FB4-B3F7-10579982133E}" type="presParOf" srcId="{B254829A-2F46-4F3D-9AEF-7371B8DA936F}" destId="{CC0B9AD5-600A-4C22-9926-D053FAE77342}" srcOrd="1" destOrd="0" presId="urn:microsoft.com/office/officeart/2005/8/layout/chevron2"/>
    <dgm:cxn modelId="{21C6EDF5-3137-45AD-A496-3163044233E9}" type="presParOf" srcId="{D562BF02-1012-47B1-A3A7-070F7E5A8E50}" destId="{C5A062D7-B51D-4397-A82B-ACCDEBDE79CD}" srcOrd="11" destOrd="0" presId="urn:microsoft.com/office/officeart/2005/8/layout/chevron2"/>
    <dgm:cxn modelId="{953CA3DE-A98C-4DB7-A6F8-B475A9CFF4C6}" type="presParOf" srcId="{D562BF02-1012-47B1-A3A7-070F7E5A8E50}" destId="{B3BAEDD5-AFF3-461C-A1FE-CA02BD84779C}" srcOrd="12" destOrd="0" presId="urn:microsoft.com/office/officeart/2005/8/layout/chevron2"/>
    <dgm:cxn modelId="{67E36797-7EDF-4770-B6B0-E1EAAF3A7E80}" type="presParOf" srcId="{B3BAEDD5-AFF3-461C-A1FE-CA02BD84779C}" destId="{29FB5C22-AEC3-4419-A3F1-C4A0A4471640}" srcOrd="0" destOrd="0" presId="urn:microsoft.com/office/officeart/2005/8/layout/chevron2"/>
    <dgm:cxn modelId="{A705401B-8352-4BB1-9C38-BDB9741D434C}" type="presParOf" srcId="{B3BAEDD5-AFF3-461C-A1FE-CA02BD84779C}" destId="{21EFDA49-566A-4546-BAD6-F680591BC8C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645655-7827-4BCD-9C8D-6D76206697EF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</dgm:pt>
    <dgm:pt modelId="{AC25B001-F586-403A-BB5C-C016C4CD50DB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Buyback Calculator</a:t>
          </a:r>
          <a:endParaRPr lang="en-IN" sz="700" dirty="0"/>
        </a:p>
      </dgm:t>
    </dgm:pt>
    <dgm:pt modelId="{76CE337A-6853-4C5D-BDCF-33FCAFB024FF}" type="parTrans" cxnId="{AED2E592-01F8-45EB-9D6F-9181E20613BA}">
      <dgm:prSet/>
      <dgm:spPr/>
      <dgm:t>
        <a:bodyPr/>
        <a:lstStyle/>
        <a:p>
          <a:endParaRPr lang="en-IN" sz="800"/>
        </a:p>
      </dgm:t>
    </dgm:pt>
    <dgm:pt modelId="{3A5E9BD6-70DE-40CA-A9E8-8EEC6BF9D7D0}" type="sibTrans" cxnId="{AED2E592-01F8-45EB-9D6F-9181E20613BA}">
      <dgm:prSet/>
      <dgm:spPr/>
      <dgm:t>
        <a:bodyPr/>
        <a:lstStyle/>
        <a:p>
          <a:endParaRPr lang="en-IN" sz="800"/>
        </a:p>
      </dgm:t>
    </dgm:pt>
    <dgm:pt modelId="{791A69F8-359F-4C96-B391-3778F99A29CB}">
      <dgm:prSet phldrT="[Text]" custT="1"/>
      <dgm:spPr/>
      <dgm:t>
        <a:bodyPr/>
        <a:lstStyle/>
        <a:p>
          <a:r>
            <a:rPr lang="en-US" sz="700" dirty="0"/>
            <a:t>Car Purchase</a:t>
          </a:r>
          <a:endParaRPr lang="en-IN" sz="700" dirty="0"/>
        </a:p>
      </dgm:t>
    </dgm:pt>
    <dgm:pt modelId="{F0654550-905F-442D-AB03-8A21BC13F086}" type="parTrans" cxnId="{64F12E1D-89BD-45D6-A62A-BE28391F30C7}">
      <dgm:prSet/>
      <dgm:spPr/>
      <dgm:t>
        <a:bodyPr/>
        <a:lstStyle/>
        <a:p>
          <a:endParaRPr lang="en-IN"/>
        </a:p>
      </dgm:t>
    </dgm:pt>
    <dgm:pt modelId="{9BF4ED28-E155-448B-A318-9F80D03F4122}" type="sibTrans" cxnId="{64F12E1D-89BD-45D6-A62A-BE28391F30C7}">
      <dgm:prSet/>
      <dgm:spPr/>
      <dgm:t>
        <a:bodyPr/>
        <a:lstStyle/>
        <a:p>
          <a:endParaRPr lang="en-IN"/>
        </a:p>
      </dgm:t>
    </dgm:pt>
    <dgm:pt modelId="{47DE7789-3991-407B-9306-646A5D51F303}">
      <dgm:prSet phldrT="[Text]" custT="1"/>
      <dgm:spPr/>
      <dgm:t>
        <a:bodyPr/>
        <a:lstStyle/>
        <a:p>
          <a:r>
            <a:rPr lang="en-US" sz="700" dirty="0"/>
            <a:t>Car Buyback</a:t>
          </a:r>
          <a:endParaRPr lang="en-IN" sz="700" dirty="0"/>
        </a:p>
      </dgm:t>
    </dgm:pt>
    <dgm:pt modelId="{2DD71FE4-DCA0-4B23-9B72-5127F156F3B6}" type="parTrans" cxnId="{8BF7E2C2-C924-47EF-800E-4F8120EA2346}">
      <dgm:prSet/>
      <dgm:spPr/>
      <dgm:t>
        <a:bodyPr/>
        <a:lstStyle/>
        <a:p>
          <a:endParaRPr lang="en-IN"/>
        </a:p>
      </dgm:t>
    </dgm:pt>
    <dgm:pt modelId="{43505DEC-65D6-47C3-A67F-C47DAEF126DA}" type="sibTrans" cxnId="{8BF7E2C2-C924-47EF-800E-4F8120EA2346}">
      <dgm:prSet/>
      <dgm:spPr/>
      <dgm:t>
        <a:bodyPr/>
        <a:lstStyle/>
        <a:p>
          <a:endParaRPr lang="en-IN"/>
        </a:p>
      </dgm:t>
    </dgm:pt>
    <dgm:pt modelId="{66BE73A8-7E4F-4EFF-8A04-04A5A36F4E53}">
      <dgm:prSet phldrT="[Text]" custT="1"/>
      <dgm:spPr/>
      <dgm:t>
        <a:bodyPr/>
        <a:lstStyle/>
        <a:p>
          <a:r>
            <a:rPr lang="en-US" sz="800" dirty="0"/>
            <a:t>Request Creation by employee and Capture – payment details</a:t>
          </a:r>
          <a:endParaRPr lang="en-IN" sz="800" dirty="0"/>
        </a:p>
      </dgm:t>
    </dgm:pt>
    <dgm:pt modelId="{B793EAD8-CC23-434E-9F30-31389C8DE61E}" type="parTrans" cxnId="{61522ACC-1A93-4EB6-A7E3-10ABF0E7BC05}">
      <dgm:prSet/>
      <dgm:spPr/>
      <dgm:t>
        <a:bodyPr/>
        <a:lstStyle/>
        <a:p>
          <a:endParaRPr lang="en-IN"/>
        </a:p>
      </dgm:t>
    </dgm:pt>
    <dgm:pt modelId="{179D886B-CBBC-48FF-A058-58D543DFE89F}" type="sibTrans" cxnId="{61522ACC-1A93-4EB6-A7E3-10ABF0E7BC05}">
      <dgm:prSet/>
      <dgm:spPr/>
      <dgm:t>
        <a:bodyPr/>
        <a:lstStyle/>
        <a:p>
          <a:endParaRPr lang="en-IN"/>
        </a:p>
      </dgm:t>
    </dgm:pt>
    <dgm:pt modelId="{CBCDBA4B-753A-4507-978C-AF273F726DF6}">
      <dgm:prSet custT="1"/>
      <dgm:spPr/>
      <dgm:t>
        <a:bodyPr/>
        <a:lstStyle/>
        <a:p>
          <a:r>
            <a:rPr lang="en-US" sz="800" dirty="0"/>
            <a:t> Request creation by employee, capture - payment details, Insurance, Registration Details</a:t>
          </a:r>
          <a:endParaRPr lang="en-IN" sz="800" dirty="0"/>
        </a:p>
      </dgm:t>
    </dgm:pt>
    <dgm:pt modelId="{0DA7FFC2-FE7D-4AE0-BCA4-366256C82E4F}" type="parTrans" cxnId="{6AFB18AD-EF10-4112-9548-694D555BC18F}">
      <dgm:prSet/>
      <dgm:spPr/>
      <dgm:t>
        <a:bodyPr/>
        <a:lstStyle/>
        <a:p>
          <a:endParaRPr lang="en-IN"/>
        </a:p>
      </dgm:t>
    </dgm:pt>
    <dgm:pt modelId="{15BC3984-39E0-45E7-9DC9-CC647FE05AC2}" type="sibTrans" cxnId="{6AFB18AD-EF10-4112-9548-694D555BC18F}">
      <dgm:prSet/>
      <dgm:spPr/>
      <dgm:t>
        <a:bodyPr/>
        <a:lstStyle/>
        <a:p>
          <a:endParaRPr lang="en-IN"/>
        </a:p>
      </dgm:t>
    </dgm:pt>
    <dgm:pt modelId="{451C0CD4-75EB-4838-8384-662ED76C2A90}">
      <dgm:prSet custT="1"/>
      <dgm:spPr/>
      <dgm:t>
        <a:bodyPr/>
        <a:lstStyle/>
        <a:p>
          <a:r>
            <a:rPr lang="en-US" sz="800" dirty="0"/>
            <a:t>Asset Capitalization</a:t>
          </a:r>
          <a:endParaRPr lang="en-IN" sz="800" dirty="0"/>
        </a:p>
      </dgm:t>
    </dgm:pt>
    <dgm:pt modelId="{B23BE8B2-70E9-41E9-AC4B-1D471E0A625A}" type="parTrans" cxnId="{E423B857-4C25-483A-8278-D930A09FE1F1}">
      <dgm:prSet/>
      <dgm:spPr/>
      <dgm:t>
        <a:bodyPr/>
        <a:lstStyle/>
        <a:p>
          <a:endParaRPr lang="en-IN"/>
        </a:p>
      </dgm:t>
    </dgm:pt>
    <dgm:pt modelId="{9A042EC1-E352-41FC-A4C0-C9FE3F5A229C}" type="sibTrans" cxnId="{E423B857-4C25-483A-8278-D930A09FE1F1}">
      <dgm:prSet/>
      <dgm:spPr/>
      <dgm:t>
        <a:bodyPr/>
        <a:lstStyle/>
        <a:p>
          <a:endParaRPr lang="en-IN"/>
        </a:p>
      </dgm:t>
    </dgm:pt>
    <dgm:pt modelId="{F68A82C8-E7BA-41F9-95FB-B7EB1AEB56F3}">
      <dgm:prSet phldrT="[Text]" custT="1"/>
      <dgm:spPr/>
      <dgm:t>
        <a:bodyPr/>
        <a:lstStyle/>
        <a:p>
          <a:endParaRPr lang="en-US" sz="800" dirty="0"/>
        </a:p>
        <a:p>
          <a:r>
            <a:rPr lang="en-US" sz="800" dirty="0"/>
            <a:t>Mobile Buyback</a:t>
          </a:r>
          <a:endParaRPr lang="en-IN" sz="800" dirty="0"/>
        </a:p>
      </dgm:t>
    </dgm:pt>
    <dgm:pt modelId="{F015AD72-D442-4D02-8460-7850D5724B56}" type="parTrans" cxnId="{D004F682-D181-42D1-BA6C-DF917534E5F4}">
      <dgm:prSet/>
      <dgm:spPr/>
      <dgm:t>
        <a:bodyPr/>
        <a:lstStyle/>
        <a:p>
          <a:endParaRPr lang="en-IN"/>
        </a:p>
      </dgm:t>
    </dgm:pt>
    <dgm:pt modelId="{85AF2818-4BFA-4E73-AE95-56B7D3E696A1}" type="sibTrans" cxnId="{D004F682-D181-42D1-BA6C-DF917534E5F4}">
      <dgm:prSet/>
      <dgm:spPr/>
      <dgm:t>
        <a:bodyPr/>
        <a:lstStyle/>
        <a:p>
          <a:endParaRPr lang="en-IN"/>
        </a:p>
      </dgm:t>
    </dgm:pt>
    <dgm:pt modelId="{E4415235-E13A-4AF3-9653-0CAF99999764}">
      <dgm:prSet phldrT="[Text]" custT="1"/>
      <dgm:spPr/>
      <dgm:t>
        <a:bodyPr/>
        <a:lstStyle/>
        <a:p>
          <a:br>
            <a:rPr lang="en-US" sz="700" dirty="0"/>
          </a:br>
          <a:r>
            <a:rPr lang="en-US" sz="700" dirty="0"/>
            <a:t>Expense Management</a:t>
          </a:r>
          <a:endParaRPr lang="en-IN" sz="700" dirty="0"/>
        </a:p>
      </dgm:t>
    </dgm:pt>
    <dgm:pt modelId="{BAC39599-8086-46A8-BF13-B7C987CDE52F}" type="parTrans" cxnId="{34D013C2-8183-43F5-9945-E0D86C01F491}">
      <dgm:prSet/>
      <dgm:spPr/>
      <dgm:t>
        <a:bodyPr/>
        <a:lstStyle/>
        <a:p>
          <a:endParaRPr lang="en-IN"/>
        </a:p>
      </dgm:t>
    </dgm:pt>
    <dgm:pt modelId="{8B06B8F1-CB0C-4DAE-891E-356F2F2814B9}" type="sibTrans" cxnId="{34D013C2-8183-43F5-9945-E0D86C01F491}">
      <dgm:prSet/>
      <dgm:spPr/>
      <dgm:t>
        <a:bodyPr/>
        <a:lstStyle/>
        <a:p>
          <a:endParaRPr lang="en-IN"/>
        </a:p>
      </dgm:t>
    </dgm:pt>
    <dgm:pt modelId="{DC79799C-68A3-415B-9AEA-03E12FBB551A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Mobile Purchase</a:t>
          </a:r>
          <a:endParaRPr lang="en-IN" sz="700" dirty="0"/>
        </a:p>
      </dgm:t>
    </dgm:pt>
    <dgm:pt modelId="{4E7515EF-B0D7-4277-92EA-2B0CFFD8C369}" type="parTrans" cxnId="{FA1269F8-4227-4813-9504-8AF859E3B146}">
      <dgm:prSet/>
      <dgm:spPr/>
      <dgm:t>
        <a:bodyPr/>
        <a:lstStyle/>
        <a:p>
          <a:endParaRPr lang="en-IN"/>
        </a:p>
      </dgm:t>
    </dgm:pt>
    <dgm:pt modelId="{5342E603-5BF3-4E5E-9E3D-38343141FFF0}" type="sibTrans" cxnId="{FA1269F8-4227-4813-9504-8AF859E3B146}">
      <dgm:prSet/>
      <dgm:spPr/>
      <dgm:t>
        <a:bodyPr/>
        <a:lstStyle/>
        <a:p>
          <a:endParaRPr lang="en-IN"/>
        </a:p>
      </dgm:t>
    </dgm:pt>
    <dgm:pt modelId="{3F060F41-35BF-4F9B-A0CC-6E01820A202D}">
      <dgm:prSet phldrT="[Text]" custT="1"/>
      <dgm:spPr/>
      <dgm:t>
        <a:bodyPr/>
        <a:lstStyle/>
        <a:p>
          <a:r>
            <a:rPr lang="en-US" sz="800" dirty="0"/>
            <a:t>Initiation of asset retirement and issue NOC</a:t>
          </a:r>
          <a:endParaRPr lang="en-IN" sz="800" dirty="0"/>
        </a:p>
      </dgm:t>
    </dgm:pt>
    <dgm:pt modelId="{2AEADEED-6A88-4179-84C4-179D6D873D73}" type="parTrans" cxnId="{8AD39071-AE0D-4091-B292-D2BE0AAF5B07}">
      <dgm:prSet/>
      <dgm:spPr/>
      <dgm:t>
        <a:bodyPr/>
        <a:lstStyle/>
        <a:p>
          <a:endParaRPr lang="en-IN"/>
        </a:p>
      </dgm:t>
    </dgm:pt>
    <dgm:pt modelId="{AA433800-997B-4FE2-88D2-F70C2451E770}" type="sibTrans" cxnId="{8AD39071-AE0D-4091-B292-D2BE0AAF5B07}">
      <dgm:prSet/>
      <dgm:spPr/>
      <dgm:t>
        <a:bodyPr/>
        <a:lstStyle/>
        <a:p>
          <a:endParaRPr lang="en-IN"/>
        </a:p>
      </dgm:t>
    </dgm:pt>
    <dgm:pt modelId="{BFB68A56-A086-4ECA-9ADA-E0E0BA8DAD11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Simulate car buyback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gm:t>
    </dgm:pt>
    <dgm:pt modelId="{8F6FF369-48E9-4889-8185-C6D075AADEAB}" type="parTrans" cxnId="{CE929F16-EC42-4BCA-BA62-40EC38EBC62B}">
      <dgm:prSet/>
      <dgm:spPr/>
      <dgm:t>
        <a:bodyPr/>
        <a:lstStyle/>
        <a:p>
          <a:endParaRPr lang="en-IN"/>
        </a:p>
      </dgm:t>
    </dgm:pt>
    <dgm:pt modelId="{95F72FEB-9225-4217-A845-2C42B6890387}" type="sibTrans" cxnId="{CE929F16-EC42-4BCA-BA62-40EC38EBC62B}">
      <dgm:prSet/>
      <dgm:spPr/>
      <dgm:t>
        <a:bodyPr/>
        <a:lstStyle/>
        <a:p>
          <a:endParaRPr lang="en-IN"/>
        </a:p>
      </dgm:t>
    </dgm:pt>
    <dgm:pt modelId="{EED3D0A0-A2C5-41B7-B9DD-579F79F580DA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Simulate mobile buyback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gm:t>
    </dgm:pt>
    <dgm:pt modelId="{E85C957C-E0C7-48AA-9E82-1994E8F832FE}" type="parTrans" cxnId="{9B2CC986-5DF5-49A4-9CBB-84BA6056D9E2}">
      <dgm:prSet/>
      <dgm:spPr/>
      <dgm:t>
        <a:bodyPr/>
        <a:lstStyle/>
        <a:p>
          <a:endParaRPr lang="en-IN"/>
        </a:p>
      </dgm:t>
    </dgm:pt>
    <dgm:pt modelId="{5BC07B73-FB4D-4426-95F2-E23CD4FAC7D2}" type="sibTrans" cxnId="{9B2CC986-5DF5-49A4-9CBB-84BA6056D9E2}">
      <dgm:prSet/>
      <dgm:spPr/>
      <dgm:t>
        <a:bodyPr/>
        <a:lstStyle/>
        <a:p>
          <a:endParaRPr lang="en-IN"/>
        </a:p>
      </dgm:t>
    </dgm:pt>
    <dgm:pt modelId="{EC199EA7-A4CC-4F05-8157-1D626E509F8F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Perquisite tax simulation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gm:t>
    </dgm:pt>
    <dgm:pt modelId="{FFC0C1FF-E36D-4ABF-A54F-3E6A33E4A50B}" type="parTrans" cxnId="{403CB36A-7D5C-42BC-AAB5-8269F8EF414A}">
      <dgm:prSet/>
      <dgm:spPr/>
      <dgm:t>
        <a:bodyPr/>
        <a:lstStyle/>
        <a:p>
          <a:endParaRPr lang="en-IN"/>
        </a:p>
      </dgm:t>
    </dgm:pt>
    <dgm:pt modelId="{13601552-FD32-474E-A3D2-27020BCA8A76}" type="sibTrans" cxnId="{403CB36A-7D5C-42BC-AAB5-8269F8EF414A}">
      <dgm:prSet/>
      <dgm:spPr/>
      <dgm:t>
        <a:bodyPr/>
        <a:lstStyle/>
        <a:p>
          <a:endParaRPr lang="en-IN"/>
        </a:p>
      </dgm:t>
    </dgm:pt>
    <dgm:pt modelId="{8D2C1146-10E6-4C88-BC50-B5852C1E3A12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r>
            <a:rPr lang="en-US" sz="800" kern="1200" dirty="0">
              <a:latin typeface="+mn-lt"/>
            </a:rPr>
            <a:t>Record </a:t>
          </a: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keeping</a:t>
          </a:r>
          <a:r>
            <a:rPr lang="en-US" sz="800" kern="1200" dirty="0">
              <a:latin typeface="+mn-lt"/>
            </a:rPr>
            <a:t> of employee mobile purchase for business purpose</a:t>
          </a:r>
          <a:endParaRPr lang="en-IN" sz="800" kern="1200" dirty="0">
            <a:latin typeface="+mn-lt"/>
          </a:endParaRPr>
        </a:p>
      </dgm:t>
    </dgm:pt>
    <dgm:pt modelId="{89C95A7A-E634-4909-B0E3-F1030307BB08}" type="parTrans" cxnId="{27E994B9-E017-49B5-8DA9-CE1E8C86BB3B}">
      <dgm:prSet/>
      <dgm:spPr/>
      <dgm:t>
        <a:bodyPr/>
        <a:lstStyle/>
        <a:p>
          <a:endParaRPr lang="en-IN"/>
        </a:p>
      </dgm:t>
    </dgm:pt>
    <dgm:pt modelId="{9A3A1908-ED19-4D96-8B2F-15EA67F8BAE1}" type="sibTrans" cxnId="{27E994B9-E017-49B5-8DA9-CE1E8C86BB3B}">
      <dgm:prSet/>
      <dgm:spPr/>
      <dgm:t>
        <a:bodyPr/>
        <a:lstStyle/>
        <a:p>
          <a:endParaRPr lang="en-IN"/>
        </a:p>
      </dgm:t>
    </dgm:pt>
    <dgm:pt modelId="{78253020-DC5A-4C88-BEB3-4D794796FDF7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r>
            <a:rPr lang="en-US" sz="800" kern="1200" dirty="0">
              <a:latin typeface="+mn-lt"/>
            </a:rPr>
            <a:t>Asset capitalization</a:t>
          </a:r>
          <a:endParaRPr lang="en-IN" sz="800" kern="1200" dirty="0">
            <a:latin typeface="+mn-lt"/>
          </a:endParaRPr>
        </a:p>
      </dgm:t>
    </dgm:pt>
    <dgm:pt modelId="{1FA6ACD1-71C6-41A2-BF42-0AA6BDD930C4}" type="parTrans" cxnId="{5043B864-8C50-4508-8051-219F77B106BD}">
      <dgm:prSet/>
      <dgm:spPr/>
      <dgm:t>
        <a:bodyPr/>
        <a:lstStyle/>
        <a:p>
          <a:endParaRPr lang="en-IN"/>
        </a:p>
      </dgm:t>
    </dgm:pt>
    <dgm:pt modelId="{B6A0887A-F61F-4CA0-A5F9-EF0C18801068}" type="sibTrans" cxnId="{5043B864-8C50-4508-8051-219F77B106BD}">
      <dgm:prSet/>
      <dgm:spPr/>
      <dgm:t>
        <a:bodyPr/>
        <a:lstStyle/>
        <a:p>
          <a:endParaRPr lang="en-IN"/>
        </a:p>
      </dgm:t>
    </dgm:pt>
    <dgm:pt modelId="{474FE41A-3283-4398-99AE-24D2C660EB9C}">
      <dgm:prSet custT="1"/>
      <dgm:spPr/>
      <dgm:t>
        <a:bodyPr/>
        <a:lstStyle/>
        <a:p>
          <a:r>
            <a:rPr lang="en-US" sz="800"/>
            <a:t>Request Creation by employee and Capture – payment details</a:t>
          </a:r>
          <a:endParaRPr lang="en-IN" sz="800"/>
        </a:p>
      </dgm:t>
    </dgm:pt>
    <dgm:pt modelId="{11230A14-18A6-4E72-B777-30604C56865E}" type="parTrans" cxnId="{FE98D29A-B6E5-4E36-B014-9AF4DD05A408}">
      <dgm:prSet/>
      <dgm:spPr/>
      <dgm:t>
        <a:bodyPr/>
        <a:lstStyle/>
        <a:p>
          <a:endParaRPr lang="en-IN"/>
        </a:p>
      </dgm:t>
    </dgm:pt>
    <dgm:pt modelId="{8D5AD0BB-D302-4A72-9123-071B9A40E8E2}" type="sibTrans" cxnId="{FE98D29A-B6E5-4E36-B014-9AF4DD05A408}">
      <dgm:prSet/>
      <dgm:spPr/>
      <dgm:t>
        <a:bodyPr/>
        <a:lstStyle/>
        <a:p>
          <a:endParaRPr lang="en-IN"/>
        </a:p>
      </dgm:t>
    </dgm:pt>
    <dgm:pt modelId="{D952624D-A7FB-4762-8240-2A14488CB066}">
      <dgm:prSet custT="1"/>
      <dgm:spPr/>
      <dgm:t>
        <a:bodyPr/>
        <a:lstStyle/>
        <a:p>
          <a:r>
            <a:rPr lang="en-US" sz="800" dirty="0"/>
            <a:t>Initiation of asset retirement</a:t>
          </a:r>
          <a:endParaRPr lang="en-IN" sz="800" dirty="0"/>
        </a:p>
      </dgm:t>
    </dgm:pt>
    <dgm:pt modelId="{D667ACE4-F730-4F6E-89C2-215D9B29A2E0}" type="parTrans" cxnId="{C95C8106-0944-48D7-B2A1-3B04DC773A33}">
      <dgm:prSet/>
      <dgm:spPr/>
      <dgm:t>
        <a:bodyPr/>
        <a:lstStyle/>
        <a:p>
          <a:endParaRPr lang="en-IN"/>
        </a:p>
      </dgm:t>
    </dgm:pt>
    <dgm:pt modelId="{0DFE36D9-5A25-4A29-A112-E7B97AF5AF93}" type="sibTrans" cxnId="{C95C8106-0944-48D7-B2A1-3B04DC773A33}">
      <dgm:prSet/>
      <dgm:spPr/>
      <dgm:t>
        <a:bodyPr/>
        <a:lstStyle/>
        <a:p>
          <a:endParaRPr lang="en-IN"/>
        </a:p>
      </dgm:t>
    </dgm:pt>
    <dgm:pt modelId="{8D7897BD-AE38-4C53-B3CC-E75288C4D54A}">
      <dgm:prSet phldrT="[Text]" custT="1"/>
      <dgm:spPr/>
      <dgm:t>
        <a:bodyPr/>
        <a:lstStyle/>
        <a:p>
          <a:r>
            <a:rPr lang="en-US" sz="800" dirty="0"/>
            <a:t>Record keeping for Fuel, Maintenance and Major repairs, Tyre &amp; Battery Replacement</a:t>
          </a:r>
          <a:endParaRPr lang="en-IN" sz="800" dirty="0"/>
        </a:p>
      </dgm:t>
    </dgm:pt>
    <dgm:pt modelId="{A625ADE2-66A7-4EC3-AB08-81AE1AA65A95}" type="parTrans" cxnId="{CD5CD79C-0E36-42AF-B69C-CE28546E4CB7}">
      <dgm:prSet/>
      <dgm:spPr/>
      <dgm:t>
        <a:bodyPr/>
        <a:lstStyle/>
        <a:p>
          <a:endParaRPr lang="en-IN"/>
        </a:p>
      </dgm:t>
    </dgm:pt>
    <dgm:pt modelId="{DC789804-C9F0-4EA6-B092-4145F5738951}" type="sibTrans" cxnId="{CD5CD79C-0E36-42AF-B69C-CE28546E4CB7}">
      <dgm:prSet/>
      <dgm:spPr/>
      <dgm:t>
        <a:bodyPr/>
        <a:lstStyle/>
        <a:p>
          <a:endParaRPr lang="en-IN"/>
        </a:p>
      </dgm:t>
    </dgm:pt>
    <dgm:pt modelId="{00E92552-DAC7-4267-854B-77BB99852D1C}">
      <dgm:prSet phldrT="[Text]" custT="1"/>
      <dgm:spPr/>
      <dgm:t>
        <a:bodyPr/>
        <a:lstStyle/>
        <a:p>
          <a:r>
            <a:rPr lang="en-US" sz="800" dirty="0"/>
            <a:t>Carry Forward of maintenance amount for a period of 4 years</a:t>
          </a:r>
          <a:endParaRPr lang="en-IN" sz="800" dirty="0"/>
        </a:p>
      </dgm:t>
    </dgm:pt>
    <dgm:pt modelId="{3F94B137-BCDE-44F1-B107-A54FD4EF2D47}" type="parTrans" cxnId="{5D6AAD31-7A2E-40CC-A829-42CB6B9A7399}">
      <dgm:prSet/>
      <dgm:spPr/>
      <dgm:t>
        <a:bodyPr/>
        <a:lstStyle/>
        <a:p>
          <a:endParaRPr lang="en-IN"/>
        </a:p>
      </dgm:t>
    </dgm:pt>
    <dgm:pt modelId="{AEB8CF11-9D1F-4CA3-A80D-19DE449E3DAE}" type="sibTrans" cxnId="{5D6AAD31-7A2E-40CC-A829-42CB6B9A7399}">
      <dgm:prSet/>
      <dgm:spPr/>
      <dgm:t>
        <a:bodyPr/>
        <a:lstStyle/>
        <a:p>
          <a:endParaRPr lang="en-IN"/>
        </a:p>
      </dgm:t>
    </dgm:pt>
    <dgm:pt modelId="{153F5169-5082-4089-90A9-DAAFDF2284C1}">
      <dgm:prSet phldrT="[Text]" custT="1"/>
      <dgm:spPr/>
      <dgm:t>
        <a:bodyPr/>
        <a:lstStyle/>
        <a:p>
          <a:r>
            <a:rPr lang="en-US" sz="800" dirty="0"/>
            <a:t>Carry Forward of major repairs provisioned amount for a block period of 2 years</a:t>
          </a:r>
          <a:endParaRPr lang="en-IN" sz="800" dirty="0"/>
        </a:p>
      </dgm:t>
    </dgm:pt>
    <dgm:pt modelId="{6BE6E79B-0232-497D-A3DE-59357D9162F6}" type="parTrans" cxnId="{48328A92-6840-4265-A67E-5CAA4164FBE6}">
      <dgm:prSet/>
      <dgm:spPr/>
      <dgm:t>
        <a:bodyPr/>
        <a:lstStyle/>
        <a:p>
          <a:endParaRPr lang="en-IN"/>
        </a:p>
      </dgm:t>
    </dgm:pt>
    <dgm:pt modelId="{ADA3D8F7-602F-4A56-AAB3-B4267BDD42C3}" type="sibTrans" cxnId="{48328A92-6840-4265-A67E-5CAA4164FBE6}">
      <dgm:prSet/>
      <dgm:spPr/>
      <dgm:t>
        <a:bodyPr/>
        <a:lstStyle/>
        <a:p>
          <a:endParaRPr lang="en-IN"/>
        </a:p>
      </dgm:t>
    </dgm:pt>
    <dgm:pt modelId="{D562BF02-1012-47B1-A3A7-070F7E5A8E50}" type="pres">
      <dgm:prSet presAssocID="{F5645655-7827-4BCD-9C8D-6D76206697EF}" presName="linearFlow" presStyleCnt="0">
        <dgm:presLayoutVars>
          <dgm:dir/>
          <dgm:animLvl val="lvl"/>
          <dgm:resizeHandles val="exact"/>
        </dgm:presLayoutVars>
      </dgm:prSet>
      <dgm:spPr/>
    </dgm:pt>
    <dgm:pt modelId="{29CD0C00-FB83-43D0-91F2-DA5170BC86E9}" type="pres">
      <dgm:prSet presAssocID="{791A69F8-359F-4C96-B391-3778F99A29CB}" presName="composite" presStyleCnt="0"/>
      <dgm:spPr/>
    </dgm:pt>
    <dgm:pt modelId="{E1895196-D622-405A-AFB0-47B3B64F1DCD}" type="pres">
      <dgm:prSet presAssocID="{791A69F8-359F-4C96-B391-3778F99A29CB}" presName="parentText" presStyleLbl="alignNode1" presStyleIdx="0" presStyleCnt="6" custScaleX="110000">
        <dgm:presLayoutVars>
          <dgm:chMax val="1"/>
          <dgm:bulletEnabled val="1"/>
        </dgm:presLayoutVars>
      </dgm:prSet>
      <dgm:spPr/>
    </dgm:pt>
    <dgm:pt modelId="{0D5DCD5C-A4E6-4597-8493-EF6F3ABDF319}" type="pres">
      <dgm:prSet presAssocID="{791A69F8-359F-4C96-B391-3778F99A29CB}" presName="descendantText" presStyleLbl="alignAcc1" presStyleIdx="0" presStyleCnt="6" custScaleX="97636" custLinFactNeighborX="709" custLinFactNeighborY="6860">
        <dgm:presLayoutVars>
          <dgm:bulletEnabled val="1"/>
        </dgm:presLayoutVars>
      </dgm:prSet>
      <dgm:spPr/>
    </dgm:pt>
    <dgm:pt modelId="{117B9013-2A4D-4BCD-BF5F-6447A4FBBD9C}" type="pres">
      <dgm:prSet presAssocID="{9BF4ED28-E155-448B-A318-9F80D03F4122}" presName="sp" presStyleCnt="0"/>
      <dgm:spPr/>
    </dgm:pt>
    <dgm:pt modelId="{8FAB6515-D793-49DA-9BC9-291D8465BCC0}" type="pres">
      <dgm:prSet presAssocID="{47DE7789-3991-407B-9306-646A5D51F303}" presName="composite" presStyleCnt="0"/>
      <dgm:spPr/>
    </dgm:pt>
    <dgm:pt modelId="{2EAF7D0D-2BB3-4633-B850-5CD551168350}" type="pres">
      <dgm:prSet presAssocID="{47DE7789-3991-407B-9306-646A5D51F303}" presName="parentText" presStyleLbl="alignNode1" presStyleIdx="1" presStyleCnt="6" custScaleX="110000">
        <dgm:presLayoutVars>
          <dgm:chMax val="1"/>
          <dgm:bulletEnabled val="1"/>
        </dgm:presLayoutVars>
      </dgm:prSet>
      <dgm:spPr/>
    </dgm:pt>
    <dgm:pt modelId="{7E1528D9-BDB8-4405-A008-7162A26A2389}" type="pres">
      <dgm:prSet presAssocID="{47DE7789-3991-407B-9306-646A5D51F303}" presName="descendantText" presStyleLbl="alignAcc1" presStyleIdx="1" presStyleCnt="6" custScaleX="97636" custLinFactNeighborX="666" custLinFactNeighborY="6860">
        <dgm:presLayoutVars>
          <dgm:bulletEnabled val="1"/>
        </dgm:presLayoutVars>
      </dgm:prSet>
      <dgm:spPr/>
    </dgm:pt>
    <dgm:pt modelId="{A7B68488-3FCF-40E2-B3D9-F8100821E7FD}" type="pres">
      <dgm:prSet presAssocID="{43505DEC-65D6-47C3-A67F-C47DAEF126DA}" presName="sp" presStyleCnt="0"/>
      <dgm:spPr/>
    </dgm:pt>
    <dgm:pt modelId="{D9A459EB-0CE6-4476-878C-1C2B6639BD79}" type="pres">
      <dgm:prSet presAssocID="{AC25B001-F586-403A-BB5C-C016C4CD50DB}" presName="composite" presStyleCnt="0"/>
      <dgm:spPr/>
    </dgm:pt>
    <dgm:pt modelId="{C9B4F4DF-CC93-4634-B413-E7C2EC051F40}" type="pres">
      <dgm:prSet presAssocID="{AC25B001-F586-403A-BB5C-C016C4CD50DB}" presName="parentText" presStyleLbl="alignNode1" presStyleIdx="2" presStyleCnt="6" custScaleX="110000" custLinFactNeighborY="0">
        <dgm:presLayoutVars>
          <dgm:chMax val="1"/>
          <dgm:bulletEnabled val="1"/>
        </dgm:presLayoutVars>
      </dgm:prSet>
      <dgm:spPr/>
    </dgm:pt>
    <dgm:pt modelId="{0C9FB1E9-8B01-4B29-8D21-2CC53D06ECAE}" type="pres">
      <dgm:prSet presAssocID="{AC25B001-F586-403A-BB5C-C016C4CD50DB}" presName="descendantText" presStyleLbl="alignAcc1" presStyleIdx="2" presStyleCnt="6" custScaleX="97636" custLinFactNeighborX="709" custLinFactNeighborY="4116">
        <dgm:presLayoutVars>
          <dgm:bulletEnabled val="1"/>
        </dgm:presLayoutVars>
      </dgm:prSet>
      <dgm:spPr>
        <a:xfrm rot="5400000">
          <a:off x="3372725" y="-1410856"/>
          <a:ext cx="493527" cy="5960774"/>
        </a:xfrm>
        <a:prstGeom prst="round2SameRect">
          <a:avLst/>
        </a:prstGeom>
      </dgm:spPr>
    </dgm:pt>
    <dgm:pt modelId="{45678BF1-5550-4F1A-BD5E-EAE65631ECAF}" type="pres">
      <dgm:prSet presAssocID="{3A5E9BD6-70DE-40CA-A9E8-8EEC6BF9D7D0}" presName="sp" presStyleCnt="0"/>
      <dgm:spPr/>
    </dgm:pt>
    <dgm:pt modelId="{E04E0F1A-08FC-4A9E-8E8F-4BA99281C158}" type="pres">
      <dgm:prSet presAssocID="{DC79799C-68A3-415B-9AEA-03E12FBB551A}" presName="composite" presStyleCnt="0"/>
      <dgm:spPr/>
    </dgm:pt>
    <dgm:pt modelId="{C3E514FF-9B69-491C-AE8C-D50DEBC9E159}" type="pres">
      <dgm:prSet presAssocID="{DC79799C-68A3-415B-9AEA-03E12FBB551A}" presName="parentText" presStyleLbl="alignNode1" presStyleIdx="3" presStyleCnt="6" custScaleX="110000">
        <dgm:presLayoutVars>
          <dgm:chMax val="1"/>
          <dgm:bulletEnabled val="1"/>
        </dgm:presLayoutVars>
      </dgm:prSet>
      <dgm:spPr/>
    </dgm:pt>
    <dgm:pt modelId="{EA529F6D-7E4C-425D-A049-4682C5AA528D}" type="pres">
      <dgm:prSet presAssocID="{DC79799C-68A3-415B-9AEA-03E12FBB551A}" presName="descendantText" presStyleLbl="alignAcc1" presStyleIdx="3" presStyleCnt="6" custScaleX="97450" custLinFactNeighborX="542" custLinFactNeighborY="6860">
        <dgm:presLayoutVars>
          <dgm:bulletEnabled val="1"/>
        </dgm:presLayoutVars>
      </dgm:prSet>
      <dgm:spPr>
        <a:xfrm rot="5400000">
          <a:off x="3372908" y="-761889"/>
          <a:ext cx="493527" cy="5981226"/>
        </a:xfrm>
        <a:prstGeom prst="round2SameRect">
          <a:avLst/>
        </a:prstGeom>
      </dgm:spPr>
    </dgm:pt>
    <dgm:pt modelId="{747E1A73-A417-412C-B34D-462C3202D16F}" type="pres">
      <dgm:prSet presAssocID="{5342E603-5BF3-4E5E-9E3D-38343141FFF0}" presName="sp" presStyleCnt="0"/>
      <dgm:spPr/>
    </dgm:pt>
    <dgm:pt modelId="{97006A51-4CA4-482F-A2C1-38B009D176C5}" type="pres">
      <dgm:prSet presAssocID="{F68A82C8-E7BA-41F9-95FB-B7EB1AEB56F3}" presName="composite" presStyleCnt="0"/>
      <dgm:spPr/>
    </dgm:pt>
    <dgm:pt modelId="{3B105B92-ECF1-4B68-86E1-B6CE5086D2B8}" type="pres">
      <dgm:prSet presAssocID="{F68A82C8-E7BA-41F9-95FB-B7EB1AEB56F3}" presName="parentText" presStyleLbl="alignNode1" presStyleIdx="4" presStyleCnt="6" custScaleX="110000">
        <dgm:presLayoutVars>
          <dgm:chMax val="1"/>
          <dgm:bulletEnabled val="1"/>
        </dgm:presLayoutVars>
      </dgm:prSet>
      <dgm:spPr/>
    </dgm:pt>
    <dgm:pt modelId="{984D69EF-E39D-4E35-B46E-B793E9B4EA67}" type="pres">
      <dgm:prSet presAssocID="{F68A82C8-E7BA-41F9-95FB-B7EB1AEB56F3}" presName="descendantText" presStyleLbl="alignAcc1" presStyleIdx="4" presStyleCnt="6" custScaleX="97381" custLinFactNeighborX="401" custLinFactNeighborY="10186">
        <dgm:presLayoutVars>
          <dgm:bulletEnabled val="1"/>
        </dgm:presLayoutVars>
      </dgm:prSet>
      <dgm:spPr/>
    </dgm:pt>
    <dgm:pt modelId="{52917CEC-6F94-40FC-BF73-2711C44F0FE1}" type="pres">
      <dgm:prSet presAssocID="{85AF2818-4BFA-4E73-AE95-56B7D3E696A1}" presName="sp" presStyleCnt="0"/>
      <dgm:spPr/>
    </dgm:pt>
    <dgm:pt modelId="{548D0E97-7813-4F39-AFF4-40EBEC34BB2B}" type="pres">
      <dgm:prSet presAssocID="{E4415235-E13A-4AF3-9653-0CAF99999764}" presName="composite" presStyleCnt="0"/>
      <dgm:spPr/>
    </dgm:pt>
    <dgm:pt modelId="{A8002792-6263-4E9E-AEFB-C1309A48B61F}" type="pres">
      <dgm:prSet presAssocID="{E4415235-E13A-4AF3-9653-0CAF99999764}" presName="parentText" presStyleLbl="alignNode1" presStyleIdx="5" presStyleCnt="6" custScaleX="110000">
        <dgm:presLayoutVars>
          <dgm:chMax val="1"/>
          <dgm:bulletEnabled val="1"/>
        </dgm:presLayoutVars>
      </dgm:prSet>
      <dgm:spPr/>
    </dgm:pt>
    <dgm:pt modelId="{4D18DC2D-B6FD-44B8-B721-3DAB5A436122}" type="pres">
      <dgm:prSet presAssocID="{E4415235-E13A-4AF3-9653-0CAF99999764}" presName="descendantText" presStyleLbl="alignAcc1" presStyleIdx="5" presStyleCnt="6" custScaleX="97311" custLinFactNeighborX="471" custLinFactNeighborY="5558">
        <dgm:presLayoutVars>
          <dgm:bulletEnabled val="1"/>
        </dgm:presLayoutVars>
      </dgm:prSet>
      <dgm:spPr/>
    </dgm:pt>
  </dgm:ptLst>
  <dgm:cxnLst>
    <dgm:cxn modelId="{C95C8106-0944-48D7-B2A1-3B04DC773A33}" srcId="{F68A82C8-E7BA-41F9-95FB-B7EB1AEB56F3}" destId="{D952624D-A7FB-4762-8240-2A14488CB066}" srcOrd="1" destOrd="0" parTransId="{D667ACE4-F730-4F6E-89C2-215D9B29A2E0}" sibTransId="{0DFE36D9-5A25-4A29-A112-E7B97AF5AF93}"/>
    <dgm:cxn modelId="{84EB4E08-3156-4650-8C7B-5F219AE15434}" type="presOf" srcId="{DC79799C-68A3-415B-9AEA-03E12FBB551A}" destId="{C3E514FF-9B69-491C-AE8C-D50DEBC9E159}" srcOrd="0" destOrd="0" presId="urn:microsoft.com/office/officeart/2005/8/layout/chevron2"/>
    <dgm:cxn modelId="{7796DE09-4FB6-4D54-8AF0-058453E7428A}" type="presOf" srcId="{F68A82C8-E7BA-41F9-95FB-B7EB1AEB56F3}" destId="{3B105B92-ECF1-4B68-86E1-B6CE5086D2B8}" srcOrd="0" destOrd="0" presId="urn:microsoft.com/office/officeart/2005/8/layout/chevron2"/>
    <dgm:cxn modelId="{CE929F16-EC42-4BCA-BA62-40EC38EBC62B}" srcId="{AC25B001-F586-403A-BB5C-C016C4CD50DB}" destId="{BFB68A56-A086-4ECA-9ADA-E0E0BA8DAD11}" srcOrd="0" destOrd="0" parTransId="{8F6FF369-48E9-4889-8185-C6D075AADEAB}" sibTransId="{95F72FEB-9225-4217-A845-2C42B6890387}"/>
    <dgm:cxn modelId="{4DBE7D19-416F-4B88-9CAD-FE7F8BF8E349}" type="presOf" srcId="{474FE41A-3283-4398-99AE-24D2C660EB9C}" destId="{984D69EF-E39D-4E35-B46E-B793E9B4EA67}" srcOrd="0" destOrd="0" presId="urn:microsoft.com/office/officeart/2005/8/layout/chevron2"/>
    <dgm:cxn modelId="{64F12E1D-89BD-45D6-A62A-BE28391F30C7}" srcId="{F5645655-7827-4BCD-9C8D-6D76206697EF}" destId="{791A69F8-359F-4C96-B391-3778F99A29CB}" srcOrd="0" destOrd="0" parTransId="{F0654550-905F-442D-AB03-8A21BC13F086}" sibTransId="{9BF4ED28-E155-448B-A318-9F80D03F4122}"/>
    <dgm:cxn modelId="{6D52AE21-9D21-4243-A1C9-534EEB9ABD4E}" type="presOf" srcId="{00E92552-DAC7-4267-854B-77BB99852D1C}" destId="{4D18DC2D-B6FD-44B8-B721-3DAB5A436122}" srcOrd="0" destOrd="1" presId="urn:microsoft.com/office/officeart/2005/8/layout/chevron2"/>
    <dgm:cxn modelId="{5D6AAD31-7A2E-40CC-A829-42CB6B9A7399}" srcId="{E4415235-E13A-4AF3-9653-0CAF99999764}" destId="{00E92552-DAC7-4267-854B-77BB99852D1C}" srcOrd="1" destOrd="0" parTransId="{3F94B137-BCDE-44F1-B107-A54FD4EF2D47}" sibTransId="{AEB8CF11-9D1F-4CA3-A80D-19DE449E3DAE}"/>
    <dgm:cxn modelId="{89E61933-FB5D-40B8-9593-4226006991C3}" type="presOf" srcId="{AC25B001-F586-403A-BB5C-C016C4CD50DB}" destId="{C9B4F4DF-CC93-4634-B413-E7C2EC051F40}" srcOrd="0" destOrd="0" presId="urn:microsoft.com/office/officeart/2005/8/layout/chevron2"/>
    <dgm:cxn modelId="{B88BFF37-E315-422C-AE83-B90075D7FBE5}" type="presOf" srcId="{F5645655-7827-4BCD-9C8D-6D76206697EF}" destId="{D562BF02-1012-47B1-A3A7-070F7E5A8E50}" srcOrd="0" destOrd="0" presId="urn:microsoft.com/office/officeart/2005/8/layout/chevron2"/>
    <dgm:cxn modelId="{08D9093C-B5B5-4D18-93D7-50C9970CC613}" type="presOf" srcId="{CBCDBA4B-753A-4507-978C-AF273F726DF6}" destId="{0D5DCD5C-A4E6-4597-8493-EF6F3ABDF319}" srcOrd="0" destOrd="0" presId="urn:microsoft.com/office/officeart/2005/8/layout/chevron2"/>
    <dgm:cxn modelId="{7736063F-F175-4666-8F30-99128FAA6BE5}" type="presOf" srcId="{3F060F41-35BF-4F9B-A0CC-6E01820A202D}" destId="{7E1528D9-BDB8-4405-A008-7162A26A2389}" srcOrd="0" destOrd="1" presId="urn:microsoft.com/office/officeart/2005/8/layout/chevron2"/>
    <dgm:cxn modelId="{44365F40-B862-47F9-9F93-29F14C87B97E}" type="presOf" srcId="{EC199EA7-A4CC-4F05-8157-1D626E509F8F}" destId="{0C9FB1E9-8B01-4B29-8D21-2CC53D06ECAE}" srcOrd="0" destOrd="2" presId="urn:microsoft.com/office/officeart/2005/8/layout/chevron2"/>
    <dgm:cxn modelId="{E93B994B-6F6D-4BB9-AA80-6429EF1111BC}" type="presOf" srcId="{E4415235-E13A-4AF3-9653-0CAF99999764}" destId="{A8002792-6263-4E9E-AEFB-C1309A48B61F}" srcOrd="0" destOrd="0" presId="urn:microsoft.com/office/officeart/2005/8/layout/chevron2"/>
    <dgm:cxn modelId="{E423B857-4C25-483A-8278-D930A09FE1F1}" srcId="{791A69F8-359F-4C96-B391-3778F99A29CB}" destId="{451C0CD4-75EB-4838-8384-662ED76C2A90}" srcOrd="1" destOrd="0" parTransId="{B23BE8B2-70E9-41E9-AC4B-1D471E0A625A}" sibTransId="{9A042EC1-E352-41FC-A4C0-C9FE3F5A229C}"/>
    <dgm:cxn modelId="{E8126564-1806-458E-872C-883EA145B730}" type="presOf" srcId="{791A69F8-359F-4C96-B391-3778F99A29CB}" destId="{E1895196-D622-405A-AFB0-47B3B64F1DCD}" srcOrd="0" destOrd="0" presId="urn:microsoft.com/office/officeart/2005/8/layout/chevron2"/>
    <dgm:cxn modelId="{5043B864-8C50-4508-8051-219F77B106BD}" srcId="{DC79799C-68A3-415B-9AEA-03E12FBB551A}" destId="{78253020-DC5A-4C88-BEB3-4D794796FDF7}" srcOrd="1" destOrd="0" parTransId="{1FA6ACD1-71C6-41A2-BF42-0AA6BDD930C4}" sibTransId="{B6A0887A-F61F-4CA0-A5F9-EF0C18801068}"/>
    <dgm:cxn modelId="{C7545068-D4A7-46F1-9371-0AE9BF5A4EDB}" type="presOf" srcId="{D952624D-A7FB-4762-8240-2A14488CB066}" destId="{984D69EF-E39D-4E35-B46E-B793E9B4EA67}" srcOrd="0" destOrd="1" presId="urn:microsoft.com/office/officeart/2005/8/layout/chevron2"/>
    <dgm:cxn modelId="{403CB36A-7D5C-42BC-AAB5-8269F8EF414A}" srcId="{AC25B001-F586-403A-BB5C-C016C4CD50DB}" destId="{EC199EA7-A4CC-4F05-8157-1D626E509F8F}" srcOrd="2" destOrd="0" parTransId="{FFC0C1FF-E36D-4ABF-A54F-3E6A33E4A50B}" sibTransId="{13601552-FD32-474E-A3D2-27020BCA8A76}"/>
    <dgm:cxn modelId="{8AD39071-AE0D-4091-B292-D2BE0AAF5B07}" srcId="{47DE7789-3991-407B-9306-646A5D51F303}" destId="{3F060F41-35BF-4F9B-A0CC-6E01820A202D}" srcOrd="1" destOrd="0" parTransId="{2AEADEED-6A88-4179-84C4-179D6D873D73}" sibTransId="{AA433800-997B-4FE2-88D2-F70C2451E770}"/>
    <dgm:cxn modelId="{D004F682-D181-42D1-BA6C-DF917534E5F4}" srcId="{F5645655-7827-4BCD-9C8D-6D76206697EF}" destId="{F68A82C8-E7BA-41F9-95FB-B7EB1AEB56F3}" srcOrd="4" destOrd="0" parTransId="{F015AD72-D442-4D02-8460-7850D5724B56}" sibTransId="{85AF2818-4BFA-4E73-AE95-56B7D3E696A1}"/>
    <dgm:cxn modelId="{9B2CC986-5DF5-49A4-9CBB-84BA6056D9E2}" srcId="{AC25B001-F586-403A-BB5C-C016C4CD50DB}" destId="{EED3D0A0-A2C5-41B7-B9DD-579F79F580DA}" srcOrd="1" destOrd="0" parTransId="{E85C957C-E0C7-48AA-9E82-1994E8F832FE}" sibTransId="{5BC07B73-FB4D-4426-95F2-E23CD4FAC7D2}"/>
    <dgm:cxn modelId="{DAE78C8A-4273-4140-AFC0-943D429ECD65}" type="presOf" srcId="{78253020-DC5A-4C88-BEB3-4D794796FDF7}" destId="{EA529F6D-7E4C-425D-A049-4682C5AA528D}" srcOrd="0" destOrd="1" presId="urn:microsoft.com/office/officeart/2005/8/layout/chevron2"/>
    <dgm:cxn modelId="{27FEE28A-4781-4EDC-B68C-BECD8824FBBF}" type="presOf" srcId="{8D2C1146-10E6-4C88-BC50-B5852C1E3A12}" destId="{EA529F6D-7E4C-425D-A049-4682C5AA528D}" srcOrd="0" destOrd="0" presId="urn:microsoft.com/office/officeart/2005/8/layout/chevron2"/>
    <dgm:cxn modelId="{868A1E8D-1608-49CC-ACFE-538A0CDCEEAB}" type="presOf" srcId="{153F5169-5082-4089-90A9-DAAFDF2284C1}" destId="{4D18DC2D-B6FD-44B8-B721-3DAB5A436122}" srcOrd="0" destOrd="2" presId="urn:microsoft.com/office/officeart/2005/8/layout/chevron2"/>
    <dgm:cxn modelId="{3F7D418E-5AA1-4FDF-A945-670A5DE8C8E4}" type="presOf" srcId="{8D7897BD-AE38-4C53-B3CC-E75288C4D54A}" destId="{4D18DC2D-B6FD-44B8-B721-3DAB5A436122}" srcOrd="0" destOrd="0" presId="urn:microsoft.com/office/officeart/2005/8/layout/chevron2"/>
    <dgm:cxn modelId="{182DBB90-D963-44A2-9220-DF117D741BE9}" type="presOf" srcId="{66BE73A8-7E4F-4EFF-8A04-04A5A36F4E53}" destId="{7E1528D9-BDB8-4405-A008-7162A26A2389}" srcOrd="0" destOrd="0" presId="urn:microsoft.com/office/officeart/2005/8/layout/chevron2"/>
    <dgm:cxn modelId="{48328A92-6840-4265-A67E-5CAA4164FBE6}" srcId="{E4415235-E13A-4AF3-9653-0CAF99999764}" destId="{153F5169-5082-4089-90A9-DAAFDF2284C1}" srcOrd="2" destOrd="0" parTransId="{6BE6E79B-0232-497D-A3DE-59357D9162F6}" sibTransId="{ADA3D8F7-602F-4A56-AAB3-B4267BDD42C3}"/>
    <dgm:cxn modelId="{AED2E592-01F8-45EB-9D6F-9181E20613BA}" srcId="{F5645655-7827-4BCD-9C8D-6D76206697EF}" destId="{AC25B001-F586-403A-BB5C-C016C4CD50DB}" srcOrd="2" destOrd="0" parTransId="{76CE337A-6853-4C5D-BDCF-33FCAFB024FF}" sibTransId="{3A5E9BD6-70DE-40CA-A9E8-8EEC6BF9D7D0}"/>
    <dgm:cxn modelId="{FE98D29A-B6E5-4E36-B014-9AF4DD05A408}" srcId="{F68A82C8-E7BA-41F9-95FB-B7EB1AEB56F3}" destId="{474FE41A-3283-4398-99AE-24D2C660EB9C}" srcOrd="0" destOrd="0" parTransId="{11230A14-18A6-4E72-B777-30604C56865E}" sibTransId="{8D5AD0BB-D302-4A72-9123-071B9A40E8E2}"/>
    <dgm:cxn modelId="{CD5CD79C-0E36-42AF-B69C-CE28546E4CB7}" srcId="{E4415235-E13A-4AF3-9653-0CAF99999764}" destId="{8D7897BD-AE38-4C53-B3CC-E75288C4D54A}" srcOrd="0" destOrd="0" parTransId="{A625ADE2-66A7-4EC3-AB08-81AE1AA65A95}" sibTransId="{DC789804-C9F0-4EA6-B092-4145F5738951}"/>
    <dgm:cxn modelId="{6AFB18AD-EF10-4112-9548-694D555BC18F}" srcId="{791A69F8-359F-4C96-B391-3778F99A29CB}" destId="{CBCDBA4B-753A-4507-978C-AF273F726DF6}" srcOrd="0" destOrd="0" parTransId="{0DA7FFC2-FE7D-4AE0-BCA4-366256C82E4F}" sibTransId="{15BC3984-39E0-45E7-9DC9-CC647FE05AC2}"/>
    <dgm:cxn modelId="{0FECC1B3-39BE-42C3-BF31-632BF83D9E43}" type="presOf" srcId="{EED3D0A0-A2C5-41B7-B9DD-579F79F580DA}" destId="{0C9FB1E9-8B01-4B29-8D21-2CC53D06ECAE}" srcOrd="0" destOrd="1" presId="urn:microsoft.com/office/officeart/2005/8/layout/chevron2"/>
    <dgm:cxn modelId="{27E994B9-E017-49B5-8DA9-CE1E8C86BB3B}" srcId="{DC79799C-68A3-415B-9AEA-03E12FBB551A}" destId="{8D2C1146-10E6-4C88-BC50-B5852C1E3A12}" srcOrd="0" destOrd="0" parTransId="{89C95A7A-E634-4909-B0E3-F1030307BB08}" sibTransId="{9A3A1908-ED19-4D96-8B2F-15EA67F8BAE1}"/>
    <dgm:cxn modelId="{CE04EFB9-AB46-492C-9F27-324187BED37D}" type="presOf" srcId="{BFB68A56-A086-4ECA-9ADA-E0E0BA8DAD11}" destId="{0C9FB1E9-8B01-4B29-8D21-2CC53D06ECAE}" srcOrd="0" destOrd="0" presId="urn:microsoft.com/office/officeart/2005/8/layout/chevron2"/>
    <dgm:cxn modelId="{4F68CDBA-D0FF-469A-860B-F01763C4B29C}" type="presOf" srcId="{451C0CD4-75EB-4838-8384-662ED76C2A90}" destId="{0D5DCD5C-A4E6-4597-8493-EF6F3ABDF319}" srcOrd="0" destOrd="1" presId="urn:microsoft.com/office/officeart/2005/8/layout/chevron2"/>
    <dgm:cxn modelId="{34D013C2-8183-43F5-9945-E0D86C01F491}" srcId="{F5645655-7827-4BCD-9C8D-6D76206697EF}" destId="{E4415235-E13A-4AF3-9653-0CAF99999764}" srcOrd="5" destOrd="0" parTransId="{BAC39599-8086-46A8-BF13-B7C987CDE52F}" sibTransId="{8B06B8F1-CB0C-4DAE-891E-356F2F2814B9}"/>
    <dgm:cxn modelId="{8BF7E2C2-C924-47EF-800E-4F8120EA2346}" srcId="{F5645655-7827-4BCD-9C8D-6D76206697EF}" destId="{47DE7789-3991-407B-9306-646A5D51F303}" srcOrd="1" destOrd="0" parTransId="{2DD71FE4-DCA0-4B23-9B72-5127F156F3B6}" sibTransId="{43505DEC-65D6-47C3-A67F-C47DAEF126DA}"/>
    <dgm:cxn modelId="{61522ACC-1A93-4EB6-A7E3-10ABF0E7BC05}" srcId="{47DE7789-3991-407B-9306-646A5D51F303}" destId="{66BE73A8-7E4F-4EFF-8A04-04A5A36F4E53}" srcOrd="0" destOrd="0" parTransId="{B793EAD8-CC23-434E-9F30-31389C8DE61E}" sibTransId="{179D886B-CBBC-48FF-A058-58D543DFE89F}"/>
    <dgm:cxn modelId="{D5CAF6DD-81B4-4602-9F18-128986FF43D6}" type="presOf" srcId="{47DE7789-3991-407B-9306-646A5D51F303}" destId="{2EAF7D0D-2BB3-4633-B850-5CD551168350}" srcOrd="0" destOrd="0" presId="urn:microsoft.com/office/officeart/2005/8/layout/chevron2"/>
    <dgm:cxn modelId="{FA1269F8-4227-4813-9504-8AF859E3B146}" srcId="{F5645655-7827-4BCD-9C8D-6D76206697EF}" destId="{DC79799C-68A3-415B-9AEA-03E12FBB551A}" srcOrd="3" destOrd="0" parTransId="{4E7515EF-B0D7-4277-92EA-2B0CFFD8C369}" sibTransId="{5342E603-5BF3-4E5E-9E3D-38343141FFF0}"/>
    <dgm:cxn modelId="{DCAEBC54-C030-438D-B7AB-2A1BC6C093CB}" type="presParOf" srcId="{D562BF02-1012-47B1-A3A7-070F7E5A8E50}" destId="{29CD0C00-FB83-43D0-91F2-DA5170BC86E9}" srcOrd="0" destOrd="0" presId="urn:microsoft.com/office/officeart/2005/8/layout/chevron2"/>
    <dgm:cxn modelId="{8CE5A92E-6BEC-455D-B64F-F57F95E773C8}" type="presParOf" srcId="{29CD0C00-FB83-43D0-91F2-DA5170BC86E9}" destId="{E1895196-D622-405A-AFB0-47B3B64F1DCD}" srcOrd="0" destOrd="0" presId="urn:microsoft.com/office/officeart/2005/8/layout/chevron2"/>
    <dgm:cxn modelId="{E41FC650-4B2C-4E7D-B667-45B44618F909}" type="presParOf" srcId="{29CD0C00-FB83-43D0-91F2-DA5170BC86E9}" destId="{0D5DCD5C-A4E6-4597-8493-EF6F3ABDF319}" srcOrd="1" destOrd="0" presId="urn:microsoft.com/office/officeart/2005/8/layout/chevron2"/>
    <dgm:cxn modelId="{3E6636FB-8100-4677-A301-195B1FE3D9C9}" type="presParOf" srcId="{D562BF02-1012-47B1-A3A7-070F7E5A8E50}" destId="{117B9013-2A4D-4BCD-BF5F-6447A4FBBD9C}" srcOrd="1" destOrd="0" presId="urn:microsoft.com/office/officeart/2005/8/layout/chevron2"/>
    <dgm:cxn modelId="{90BEA46B-2D7E-46FA-9ADE-30590C1FC534}" type="presParOf" srcId="{D562BF02-1012-47B1-A3A7-070F7E5A8E50}" destId="{8FAB6515-D793-49DA-9BC9-291D8465BCC0}" srcOrd="2" destOrd="0" presId="urn:microsoft.com/office/officeart/2005/8/layout/chevron2"/>
    <dgm:cxn modelId="{366C6111-F635-40FD-A870-BEB1006B9EE5}" type="presParOf" srcId="{8FAB6515-D793-49DA-9BC9-291D8465BCC0}" destId="{2EAF7D0D-2BB3-4633-B850-5CD551168350}" srcOrd="0" destOrd="0" presId="urn:microsoft.com/office/officeart/2005/8/layout/chevron2"/>
    <dgm:cxn modelId="{DA7457F5-4401-46E0-AE19-BC93094C9315}" type="presParOf" srcId="{8FAB6515-D793-49DA-9BC9-291D8465BCC0}" destId="{7E1528D9-BDB8-4405-A008-7162A26A2389}" srcOrd="1" destOrd="0" presId="urn:microsoft.com/office/officeart/2005/8/layout/chevron2"/>
    <dgm:cxn modelId="{DB6EF1B3-0A24-45CB-8428-9F1B5DA25C1F}" type="presParOf" srcId="{D562BF02-1012-47B1-A3A7-070F7E5A8E50}" destId="{A7B68488-3FCF-40E2-B3D9-F8100821E7FD}" srcOrd="3" destOrd="0" presId="urn:microsoft.com/office/officeart/2005/8/layout/chevron2"/>
    <dgm:cxn modelId="{83E04419-407B-4D09-8AFE-E1685BFFB905}" type="presParOf" srcId="{D562BF02-1012-47B1-A3A7-070F7E5A8E50}" destId="{D9A459EB-0CE6-4476-878C-1C2B6639BD79}" srcOrd="4" destOrd="0" presId="urn:microsoft.com/office/officeart/2005/8/layout/chevron2"/>
    <dgm:cxn modelId="{644061EA-CB9C-422F-A89C-844CFE4ECBF6}" type="presParOf" srcId="{D9A459EB-0CE6-4476-878C-1C2B6639BD79}" destId="{C9B4F4DF-CC93-4634-B413-E7C2EC051F40}" srcOrd="0" destOrd="0" presId="urn:microsoft.com/office/officeart/2005/8/layout/chevron2"/>
    <dgm:cxn modelId="{E1C57A0B-F54A-4134-8F6C-04416EC7F93A}" type="presParOf" srcId="{D9A459EB-0CE6-4476-878C-1C2B6639BD79}" destId="{0C9FB1E9-8B01-4B29-8D21-2CC53D06ECAE}" srcOrd="1" destOrd="0" presId="urn:microsoft.com/office/officeart/2005/8/layout/chevron2"/>
    <dgm:cxn modelId="{3E45F168-84B9-420C-8C55-BF84E151D869}" type="presParOf" srcId="{D562BF02-1012-47B1-A3A7-070F7E5A8E50}" destId="{45678BF1-5550-4F1A-BD5E-EAE65631ECAF}" srcOrd="5" destOrd="0" presId="urn:microsoft.com/office/officeart/2005/8/layout/chevron2"/>
    <dgm:cxn modelId="{AC836DCD-44F0-4C1B-875E-74950539A9EC}" type="presParOf" srcId="{D562BF02-1012-47B1-A3A7-070F7E5A8E50}" destId="{E04E0F1A-08FC-4A9E-8E8F-4BA99281C158}" srcOrd="6" destOrd="0" presId="urn:microsoft.com/office/officeart/2005/8/layout/chevron2"/>
    <dgm:cxn modelId="{389133DD-D71C-4629-8B8A-30E285925E87}" type="presParOf" srcId="{E04E0F1A-08FC-4A9E-8E8F-4BA99281C158}" destId="{C3E514FF-9B69-491C-AE8C-D50DEBC9E159}" srcOrd="0" destOrd="0" presId="urn:microsoft.com/office/officeart/2005/8/layout/chevron2"/>
    <dgm:cxn modelId="{E093C07D-04F4-4421-AF78-EEF2514FB41E}" type="presParOf" srcId="{E04E0F1A-08FC-4A9E-8E8F-4BA99281C158}" destId="{EA529F6D-7E4C-425D-A049-4682C5AA528D}" srcOrd="1" destOrd="0" presId="urn:microsoft.com/office/officeart/2005/8/layout/chevron2"/>
    <dgm:cxn modelId="{6BD0F172-64B8-4243-9446-F7748BC99941}" type="presParOf" srcId="{D562BF02-1012-47B1-A3A7-070F7E5A8E50}" destId="{747E1A73-A417-412C-B34D-462C3202D16F}" srcOrd="7" destOrd="0" presId="urn:microsoft.com/office/officeart/2005/8/layout/chevron2"/>
    <dgm:cxn modelId="{8F63869B-0B9A-4A3A-A326-829056DAB989}" type="presParOf" srcId="{D562BF02-1012-47B1-A3A7-070F7E5A8E50}" destId="{97006A51-4CA4-482F-A2C1-38B009D176C5}" srcOrd="8" destOrd="0" presId="urn:microsoft.com/office/officeart/2005/8/layout/chevron2"/>
    <dgm:cxn modelId="{F00F1BE1-ABED-4483-82C8-DC460A53498A}" type="presParOf" srcId="{97006A51-4CA4-482F-A2C1-38B009D176C5}" destId="{3B105B92-ECF1-4B68-86E1-B6CE5086D2B8}" srcOrd="0" destOrd="0" presId="urn:microsoft.com/office/officeart/2005/8/layout/chevron2"/>
    <dgm:cxn modelId="{25C903DF-278F-4A97-802E-276F8604B8EE}" type="presParOf" srcId="{97006A51-4CA4-482F-A2C1-38B009D176C5}" destId="{984D69EF-E39D-4E35-B46E-B793E9B4EA67}" srcOrd="1" destOrd="0" presId="urn:microsoft.com/office/officeart/2005/8/layout/chevron2"/>
    <dgm:cxn modelId="{CFE5083E-D7C1-479F-8CF4-A114E794A53B}" type="presParOf" srcId="{D562BF02-1012-47B1-A3A7-070F7E5A8E50}" destId="{52917CEC-6F94-40FC-BF73-2711C44F0FE1}" srcOrd="9" destOrd="0" presId="urn:microsoft.com/office/officeart/2005/8/layout/chevron2"/>
    <dgm:cxn modelId="{DC3FACCC-E3CC-45C9-BD09-86C207BC1A97}" type="presParOf" srcId="{D562BF02-1012-47B1-A3A7-070F7E5A8E50}" destId="{548D0E97-7813-4F39-AFF4-40EBEC34BB2B}" srcOrd="10" destOrd="0" presId="urn:microsoft.com/office/officeart/2005/8/layout/chevron2"/>
    <dgm:cxn modelId="{84984F5D-3DD0-4432-95D5-CCC0E5AAB1EF}" type="presParOf" srcId="{548D0E97-7813-4F39-AFF4-40EBEC34BB2B}" destId="{A8002792-6263-4E9E-AEFB-C1309A48B61F}" srcOrd="0" destOrd="0" presId="urn:microsoft.com/office/officeart/2005/8/layout/chevron2"/>
    <dgm:cxn modelId="{8F641BCD-CC03-4542-82E1-BD4DF15E6E02}" type="presParOf" srcId="{548D0E97-7813-4F39-AFF4-40EBEC34BB2B}" destId="{4D18DC2D-B6FD-44B8-B721-3DAB5A43612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5645655-7827-4BCD-9C8D-6D76206697EF}" type="doc">
      <dgm:prSet loTypeId="urn:microsoft.com/office/officeart/2005/8/layout/chevron2" loCatId="process" qsTypeId="urn:microsoft.com/office/officeart/2005/8/quickstyle/simple3" qsCatId="simple" csTypeId="urn:microsoft.com/office/officeart/2005/8/colors/accent1_2" csCatId="accent1" phldr="1"/>
      <dgm:spPr/>
    </dgm:pt>
    <dgm:pt modelId="{AC25B001-F586-403A-BB5C-C016C4CD50DB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Payroll Processing</a:t>
          </a:r>
          <a:endParaRPr lang="en-IN" sz="700" dirty="0"/>
        </a:p>
      </dgm:t>
    </dgm:pt>
    <dgm:pt modelId="{76CE337A-6853-4C5D-BDCF-33FCAFB024FF}" type="parTrans" cxnId="{AED2E592-01F8-45EB-9D6F-9181E20613BA}">
      <dgm:prSet/>
      <dgm:spPr/>
      <dgm:t>
        <a:bodyPr/>
        <a:lstStyle/>
        <a:p>
          <a:endParaRPr lang="en-IN" sz="800"/>
        </a:p>
      </dgm:t>
    </dgm:pt>
    <dgm:pt modelId="{3A5E9BD6-70DE-40CA-A9E8-8EEC6BF9D7D0}" type="sibTrans" cxnId="{AED2E592-01F8-45EB-9D6F-9181E20613BA}">
      <dgm:prSet/>
      <dgm:spPr/>
      <dgm:t>
        <a:bodyPr/>
        <a:lstStyle/>
        <a:p>
          <a:endParaRPr lang="en-IN" sz="800"/>
        </a:p>
      </dgm:t>
    </dgm:pt>
    <dgm:pt modelId="{791A69F8-359F-4C96-B391-3778F99A29CB}">
      <dgm:prSet phldrT="[Text]" custT="1"/>
      <dgm:spPr/>
      <dgm:t>
        <a:bodyPr anchor="t"/>
        <a:lstStyle/>
        <a:p>
          <a:pPr>
            <a:lnSpc>
              <a:spcPct val="100000"/>
            </a:lnSpc>
          </a:pPr>
          <a:r>
            <a:rPr lang="en-US" sz="700" dirty="0"/>
            <a:t>Tax Declaration</a:t>
          </a:r>
          <a:endParaRPr lang="en-IN" sz="700" dirty="0"/>
        </a:p>
      </dgm:t>
    </dgm:pt>
    <dgm:pt modelId="{F0654550-905F-442D-AB03-8A21BC13F086}" type="parTrans" cxnId="{64F12E1D-89BD-45D6-A62A-BE28391F30C7}">
      <dgm:prSet/>
      <dgm:spPr/>
      <dgm:t>
        <a:bodyPr/>
        <a:lstStyle/>
        <a:p>
          <a:endParaRPr lang="en-IN"/>
        </a:p>
      </dgm:t>
    </dgm:pt>
    <dgm:pt modelId="{9BF4ED28-E155-448B-A318-9F80D03F4122}" type="sibTrans" cxnId="{64F12E1D-89BD-45D6-A62A-BE28391F30C7}">
      <dgm:prSet/>
      <dgm:spPr/>
      <dgm:t>
        <a:bodyPr/>
        <a:lstStyle/>
        <a:p>
          <a:endParaRPr lang="en-IN"/>
        </a:p>
      </dgm:t>
    </dgm:pt>
    <dgm:pt modelId="{47DE7789-3991-407B-9306-646A5D51F303}">
      <dgm:prSet phldrT="[Text]" custT="1"/>
      <dgm:spPr/>
      <dgm:t>
        <a:bodyPr/>
        <a:lstStyle/>
        <a:p>
          <a:r>
            <a:rPr lang="en-US" sz="700" dirty="0"/>
            <a:t>Data Inputs</a:t>
          </a:r>
          <a:endParaRPr lang="en-IN" sz="700" dirty="0"/>
        </a:p>
      </dgm:t>
    </dgm:pt>
    <dgm:pt modelId="{2DD71FE4-DCA0-4B23-9B72-5127F156F3B6}" type="parTrans" cxnId="{8BF7E2C2-C924-47EF-800E-4F8120EA2346}">
      <dgm:prSet/>
      <dgm:spPr/>
      <dgm:t>
        <a:bodyPr/>
        <a:lstStyle/>
        <a:p>
          <a:endParaRPr lang="en-IN"/>
        </a:p>
      </dgm:t>
    </dgm:pt>
    <dgm:pt modelId="{43505DEC-65D6-47C3-A67F-C47DAEF126DA}" type="sibTrans" cxnId="{8BF7E2C2-C924-47EF-800E-4F8120EA2346}">
      <dgm:prSet/>
      <dgm:spPr/>
      <dgm:t>
        <a:bodyPr/>
        <a:lstStyle/>
        <a:p>
          <a:endParaRPr lang="en-IN"/>
        </a:p>
      </dgm:t>
    </dgm:pt>
    <dgm:pt modelId="{66BE73A8-7E4F-4EFF-8A04-04A5A36F4E53}">
      <dgm:prSet phldrT="[Text]" custT="1"/>
      <dgm:spPr/>
      <dgm:t>
        <a:bodyPr/>
        <a:lstStyle/>
        <a:p>
          <a:r>
            <a:rPr lang="en-US" sz="800" dirty="0"/>
            <a:t>Variable pay (incentives) upload</a:t>
          </a:r>
          <a:endParaRPr lang="en-IN" sz="800" dirty="0"/>
        </a:p>
      </dgm:t>
    </dgm:pt>
    <dgm:pt modelId="{B793EAD8-CC23-434E-9F30-31389C8DE61E}" type="parTrans" cxnId="{61522ACC-1A93-4EB6-A7E3-10ABF0E7BC05}">
      <dgm:prSet/>
      <dgm:spPr/>
      <dgm:t>
        <a:bodyPr/>
        <a:lstStyle/>
        <a:p>
          <a:endParaRPr lang="en-IN"/>
        </a:p>
      </dgm:t>
    </dgm:pt>
    <dgm:pt modelId="{179D886B-CBBC-48FF-A058-58D543DFE89F}" type="sibTrans" cxnId="{61522ACC-1A93-4EB6-A7E3-10ABF0E7BC05}">
      <dgm:prSet/>
      <dgm:spPr/>
      <dgm:t>
        <a:bodyPr/>
        <a:lstStyle/>
        <a:p>
          <a:endParaRPr lang="en-IN"/>
        </a:p>
      </dgm:t>
    </dgm:pt>
    <dgm:pt modelId="{CBCDBA4B-753A-4507-978C-AF273F726DF6}">
      <dgm:prSet custT="1"/>
      <dgm:spPr/>
      <dgm:t>
        <a:bodyPr/>
        <a:lstStyle/>
        <a:p>
          <a:r>
            <a:rPr lang="en-US" sz="800" dirty="0"/>
            <a:t>Tax Regime Selection</a:t>
          </a:r>
          <a:endParaRPr lang="en-IN" sz="800" dirty="0"/>
        </a:p>
      </dgm:t>
    </dgm:pt>
    <dgm:pt modelId="{0DA7FFC2-FE7D-4AE0-BCA4-366256C82E4F}" type="parTrans" cxnId="{6AFB18AD-EF10-4112-9548-694D555BC18F}">
      <dgm:prSet/>
      <dgm:spPr/>
      <dgm:t>
        <a:bodyPr/>
        <a:lstStyle/>
        <a:p>
          <a:endParaRPr lang="en-IN"/>
        </a:p>
      </dgm:t>
    </dgm:pt>
    <dgm:pt modelId="{15BC3984-39E0-45E7-9DC9-CC647FE05AC2}" type="sibTrans" cxnId="{6AFB18AD-EF10-4112-9548-694D555BC18F}">
      <dgm:prSet/>
      <dgm:spPr/>
      <dgm:t>
        <a:bodyPr/>
        <a:lstStyle/>
        <a:p>
          <a:endParaRPr lang="en-IN"/>
        </a:p>
      </dgm:t>
    </dgm:pt>
    <dgm:pt modelId="{451C0CD4-75EB-4838-8384-662ED76C2A90}">
      <dgm:prSet custT="1"/>
      <dgm:spPr/>
      <dgm:t>
        <a:bodyPr/>
        <a:lstStyle/>
        <a:p>
          <a:r>
            <a:rPr lang="en-US" sz="800" dirty="0"/>
            <a:t>Investment declaration</a:t>
          </a:r>
          <a:endParaRPr lang="en-IN" sz="800" dirty="0"/>
        </a:p>
      </dgm:t>
    </dgm:pt>
    <dgm:pt modelId="{B23BE8B2-70E9-41E9-AC4B-1D471E0A625A}" type="parTrans" cxnId="{E423B857-4C25-483A-8278-D930A09FE1F1}">
      <dgm:prSet/>
      <dgm:spPr/>
      <dgm:t>
        <a:bodyPr/>
        <a:lstStyle/>
        <a:p>
          <a:endParaRPr lang="en-IN"/>
        </a:p>
      </dgm:t>
    </dgm:pt>
    <dgm:pt modelId="{9A042EC1-E352-41FC-A4C0-C9FE3F5A229C}" type="sibTrans" cxnId="{E423B857-4C25-483A-8278-D930A09FE1F1}">
      <dgm:prSet/>
      <dgm:spPr/>
      <dgm:t>
        <a:bodyPr/>
        <a:lstStyle/>
        <a:p>
          <a:endParaRPr lang="en-IN"/>
        </a:p>
      </dgm:t>
    </dgm:pt>
    <dgm:pt modelId="{F68A82C8-E7BA-41F9-95FB-B7EB1AEB56F3}">
      <dgm:prSet phldrT="[Text]" custT="1"/>
      <dgm:spPr/>
      <dgm:t>
        <a:bodyPr/>
        <a:lstStyle/>
        <a:p>
          <a:endParaRPr lang="en-US" sz="800" dirty="0"/>
        </a:p>
        <a:p>
          <a:r>
            <a:rPr lang="en-US" sz="800" dirty="0"/>
            <a:t>MIS</a:t>
          </a:r>
          <a:endParaRPr lang="en-IN" sz="800" dirty="0"/>
        </a:p>
      </dgm:t>
    </dgm:pt>
    <dgm:pt modelId="{F015AD72-D442-4D02-8460-7850D5724B56}" type="parTrans" cxnId="{D004F682-D181-42D1-BA6C-DF917534E5F4}">
      <dgm:prSet/>
      <dgm:spPr/>
      <dgm:t>
        <a:bodyPr/>
        <a:lstStyle/>
        <a:p>
          <a:endParaRPr lang="en-IN"/>
        </a:p>
      </dgm:t>
    </dgm:pt>
    <dgm:pt modelId="{85AF2818-4BFA-4E73-AE95-56B7D3E696A1}" type="sibTrans" cxnId="{D004F682-D181-42D1-BA6C-DF917534E5F4}">
      <dgm:prSet/>
      <dgm:spPr/>
      <dgm:t>
        <a:bodyPr/>
        <a:lstStyle/>
        <a:p>
          <a:endParaRPr lang="en-IN"/>
        </a:p>
      </dgm:t>
    </dgm:pt>
    <dgm:pt modelId="{E4415235-E13A-4AF3-9653-0CAF99999764}">
      <dgm:prSet phldrT="[Text]" custT="1"/>
      <dgm:spPr/>
      <dgm:t>
        <a:bodyPr/>
        <a:lstStyle/>
        <a:p>
          <a:endParaRPr lang="en-US" sz="700" dirty="0"/>
        </a:p>
        <a:p>
          <a:r>
            <a:rPr lang="en-US" sz="700" dirty="0"/>
            <a:t>Exit Management</a:t>
          </a:r>
          <a:endParaRPr lang="en-IN" sz="700" dirty="0"/>
        </a:p>
      </dgm:t>
    </dgm:pt>
    <dgm:pt modelId="{BAC39599-8086-46A8-BF13-B7C987CDE52F}" type="parTrans" cxnId="{34D013C2-8183-43F5-9945-E0D86C01F491}">
      <dgm:prSet/>
      <dgm:spPr/>
      <dgm:t>
        <a:bodyPr/>
        <a:lstStyle/>
        <a:p>
          <a:endParaRPr lang="en-IN"/>
        </a:p>
      </dgm:t>
    </dgm:pt>
    <dgm:pt modelId="{8B06B8F1-CB0C-4DAE-891E-356F2F2814B9}" type="sibTrans" cxnId="{34D013C2-8183-43F5-9945-E0D86C01F491}">
      <dgm:prSet/>
      <dgm:spPr/>
      <dgm:t>
        <a:bodyPr/>
        <a:lstStyle/>
        <a:p>
          <a:endParaRPr lang="en-IN"/>
        </a:p>
      </dgm:t>
    </dgm:pt>
    <dgm:pt modelId="{DC79799C-68A3-415B-9AEA-03E12FBB551A}">
      <dgm:prSet phldrT="[Text]" custT="1"/>
      <dgm:spPr/>
      <dgm:t>
        <a:bodyPr/>
        <a:lstStyle/>
        <a:p>
          <a:endParaRPr lang="en-US" sz="800" dirty="0"/>
        </a:p>
        <a:p>
          <a:r>
            <a:rPr lang="en-US" sz="800" dirty="0"/>
            <a:t>ESS</a:t>
          </a:r>
          <a:endParaRPr lang="en-IN" sz="800" dirty="0"/>
        </a:p>
      </dgm:t>
    </dgm:pt>
    <dgm:pt modelId="{4E7515EF-B0D7-4277-92EA-2B0CFFD8C369}" type="parTrans" cxnId="{FA1269F8-4227-4813-9504-8AF859E3B146}">
      <dgm:prSet/>
      <dgm:spPr/>
      <dgm:t>
        <a:bodyPr/>
        <a:lstStyle/>
        <a:p>
          <a:endParaRPr lang="en-IN"/>
        </a:p>
      </dgm:t>
    </dgm:pt>
    <dgm:pt modelId="{5342E603-5BF3-4E5E-9E3D-38343141FFF0}" type="sibTrans" cxnId="{FA1269F8-4227-4813-9504-8AF859E3B146}">
      <dgm:prSet/>
      <dgm:spPr/>
      <dgm:t>
        <a:bodyPr/>
        <a:lstStyle/>
        <a:p>
          <a:endParaRPr lang="en-IN"/>
        </a:p>
      </dgm:t>
    </dgm:pt>
    <dgm:pt modelId="{3F060F41-35BF-4F9B-A0CC-6E01820A202D}">
      <dgm:prSet phldrT="[Text]" custT="1"/>
      <dgm:spPr/>
      <dgm:t>
        <a:bodyPr/>
        <a:lstStyle/>
        <a:p>
          <a:r>
            <a:rPr lang="en-US" sz="800" dirty="0"/>
            <a:t>Loan Management</a:t>
          </a:r>
          <a:endParaRPr lang="en-IN" sz="800" dirty="0"/>
        </a:p>
      </dgm:t>
    </dgm:pt>
    <dgm:pt modelId="{2AEADEED-6A88-4179-84C4-179D6D873D73}" type="parTrans" cxnId="{8AD39071-AE0D-4091-B292-D2BE0AAF5B07}">
      <dgm:prSet/>
      <dgm:spPr/>
      <dgm:t>
        <a:bodyPr/>
        <a:lstStyle/>
        <a:p>
          <a:endParaRPr lang="en-IN"/>
        </a:p>
      </dgm:t>
    </dgm:pt>
    <dgm:pt modelId="{AA433800-997B-4FE2-88D2-F70C2451E770}" type="sibTrans" cxnId="{8AD39071-AE0D-4091-B292-D2BE0AAF5B07}">
      <dgm:prSet/>
      <dgm:spPr/>
      <dgm:t>
        <a:bodyPr/>
        <a:lstStyle/>
        <a:p>
          <a:endParaRPr lang="en-IN"/>
        </a:p>
      </dgm:t>
    </dgm:pt>
    <dgm:pt modelId="{BFB68A56-A086-4ECA-9ADA-E0E0BA8DAD11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Payroll execution and pay register generation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gm:t>
    </dgm:pt>
    <dgm:pt modelId="{8F6FF369-48E9-4889-8185-C6D075AADEAB}" type="parTrans" cxnId="{CE929F16-EC42-4BCA-BA62-40EC38EBC62B}">
      <dgm:prSet/>
      <dgm:spPr/>
      <dgm:t>
        <a:bodyPr/>
        <a:lstStyle/>
        <a:p>
          <a:endParaRPr lang="en-IN"/>
        </a:p>
      </dgm:t>
    </dgm:pt>
    <dgm:pt modelId="{95F72FEB-9225-4217-A845-2C42B6890387}" type="sibTrans" cxnId="{CE929F16-EC42-4BCA-BA62-40EC38EBC62B}">
      <dgm:prSet/>
      <dgm:spPr/>
      <dgm:t>
        <a:bodyPr/>
        <a:lstStyle/>
        <a:p>
          <a:endParaRPr lang="en-IN"/>
        </a:p>
      </dgm:t>
    </dgm:pt>
    <dgm:pt modelId="{EED3D0A0-A2C5-41B7-B9DD-579F79F580DA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H2H transfer, salary slip publishing post payout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gm:t>
    </dgm:pt>
    <dgm:pt modelId="{E85C957C-E0C7-48AA-9E82-1994E8F832FE}" type="parTrans" cxnId="{9B2CC986-5DF5-49A4-9CBB-84BA6056D9E2}">
      <dgm:prSet/>
      <dgm:spPr/>
      <dgm:t>
        <a:bodyPr/>
        <a:lstStyle/>
        <a:p>
          <a:endParaRPr lang="en-IN"/>
        </a:p>
      </dgm:t>
    </dgm:pt>
    <dgm:pt modelId="{5BC07B73-FB4D-4426-95F2-E23CD4FAC7D2}" type="sibTrans" cxnId="{9B2CC986-5DF5-49A4-9CBB-84BA6056D9E2}">
      <dgm:prSet/>
      <dgm:spPr/>
      <dgm:t>
        <a:bodyPr/>
        <a:lstStyle/>
        <a:p>
          <a:endParaRPr lang="en-IN"/>
        </a:p>
      </dgm:t>
    </dgm:pt>
    <dgm:pt modelId="{EC199EA7-A4CC-4F05-8157-1D626E509F8F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JV file generation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gm:t>
    </dgm:pt>
    <dgm:pt modelId="{FFC0C1FF-E36D-4ABF-A54F-3E6A33E4A50B}" type="parTrans" cxnId="{403CB36A-7D5C-42BC-AAB5-8269F8EF414A}">
      <dgm:prSet/>
      <dgm:spPr/>
      <dgm:t>
        <a:bodyPr/>
        <a:lstStyle/>
        <a:p>
          <a:endParaRPr lang="en-IN"/>
        </a:p>
      </dgm:t>
    </dgm:pt>
    <dgm:pt modelId="{13601552-FD32-474E-A3D2-27020BCA8A76}" type="sibTrans" cxnId="{403CB36A-7D5C-42BC-AAB5-8269F8EF414A}">
      <dgm:prSet/>
      <dgm:spPr/>
      <dgm:t>
        <a:bodyPr/>
        <a:lstStyle/>
        <a:p>
          <a:endParaRPr lang="en-IN"/>
        </a:p>
      </dgm:t>
    </dgm:pt>
    <dgm:pt modelId="{8D2C1146-10E6-4C88-BC50-B5852C1E3A12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r>
            <a:rPr lang="en-US" sz="800" kern="1200" dirty="0">
              <a:latin typeface="+mn-lt"/>
            </a:rPr>
            <a:t>Salary Slips</a:t>
          </a:r>
          <a:endParaRPr lang="en-IN" sz="800" kern="1200" dirty="0">
            <a:latin typeface="+mn-lt"/>
          </a:endParaRPr>
        </a:p>
      </dgm:t>
    </dgm:pt>
    <dgm:pt modelId="{89C95A7A-E634-4909-B0E3-F1030307BB08}" type="parTrans" cxnId="{27E994B9-E017-49B5-8DA9-CE1E8C86BB3B}">
      <dgm:prSet/>
      <dgm:spPr/>
      <dgm:t>
        <a:bodyPr/>
        <a:lstStyle/>
        <a:p>
          <a:endParaRPr lang="en-IN"/>
        </a:p>
      </dgm:t>
    </dgm:pt>
    <dgm:pt modelId="{9A3A1908-ED19-4D96-8B2F-15EA67F8BAE1}" type="sibTrans" cxnId="{27E994B9-E017-49B5-8DA9-CE1E8C86BB3B}">
      <dgm:prSet/>
      <dgm:spPr/>
      <dgm:t>
        <a:bodyPr/>
        <a:lstStyle/>
        <a:p>
          <a:endParaRPr lang="en-IN"/>
        </a:p>
      </dgm:t>
    </dgm:pt>
    <dgm:pt modelId="{78253020-DC5A-4C88-BEB3-4D794796FDF7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r>
            <a:rPr lang="en-US" sz="800" kern="1200" dirty="0">
              <a:latin typeface="+mn-lt"/>
            </a:rPr>
            <a:t>Form 16</a:t>
          </a:r>
          <a:endParaRPr lang="en-IN" sz="800" kern="1200" dirty="0">
            <a:latin typeface="+mn-lt"/>
          </a:endParaRPr>
        </a:p>
      </dgm:t>
    </dgm:pt>
    <dgm:pt modelId="{1FA6ACD1-71C6-41A2-BF42-0AA6BDD930C4}" type="parTrans" cxnId="{5043B864-8C50-4508-8051-219F77B106BD}">
      <dgm:prSet/>
      <dgm:spPr/>
      <dgm:t>
        <a:bodyPr/>
        <a:lstStyle/>
        <a:p>
          <a:endParaRPr lang="en-IN"/>
        </a:p>
      </dgm:t>
    </dgm:pt>
    <dgm:pt modelId="{B6A0887A-F61F-4CA0-A5F9-EF0C18801068}" type="sibTrans" cxnId="{5043B864-8C50-4508-8051-219F77B106BD}">
      <dgm:prSet/>
      <dgm:spPr/>
      <dgm:t>
        <a:bodyPr/>
        <a:lstStyle/>
        <a:p>
          <a:endParaRPr lang="en-IN"/>
        </a:p>
      </dgm:t>
    </dgm:pt>
    <dgm:pt modelId="{474FE41A-3283-4398-99AE-24D2C660EB9C}">
      <dgm:prSet custT="1"/>
      <dgm:spPr/>
      <dgm:t>
        <a:bodyPr/>
        <a:lstStyle/>
        <a:p>
          <a:r>
            <a:rPr lang="en-US" sz="800" dirty="0"/>
            <a:t>Reports for validation</a:t>
          </a:r>
          <a:endParaRPr lang="en-IN" sz="800" dirty="0"/>
        </a:p>
      </dgm:t>
    </dgm:pt>
    <dgm:pt modelId="{11230A14-18A6-4E72-B777-30604C56865E}" type="parTrans" cxnId="{FE98D29A-B6E5-4E36-B014-9AF4DD05A408}">
      <dgm:prSet/>
      <dgm:spPr/>
      <dgm:t>
        <a:bodyPr/>
        <a:lstStyle/>
        <a:p>
          <a:endParaRPr lang="en-IN"/>
        </a:p>
      </dgm:t>
    </dgm:pt>
    <dgm:pt modelId="{8D5AD0BB-D302-4A72-9123-071B9A40E8E2}" type="sibTrans" cxnId="{FE98D29A-B6E5-4E36-B014-9AF4DD05A408}">
      <dgm:prSet/>
      <dgm:spPr/>
      <dgm:t>
        <a:bodyPr/>
        <a:lstStyle/>
        <a:p>
          <a:endParaRPr lang="en-IN"/>
        </a:p>
      </dgm:t>
    </dgm:pt>
    <dgm:pt modelId="{8D7897BD-AE38-4C53-B3CC-E75288C4D54A}">
      <dgm:prSet phldrT="[Text]" custT="1"/>
      <dgm:spPr/>
      <dgm:t>
        <a:bodyPr/>
        <a:lstStyle/>
        <a:p>
          <a:r>
            <a:rPr lang="en-US" sz="800" dirty="0"/>
            <a:t>Full and Final settlement processing</a:t>
          </a:r>
          <a:endParaRPr lang="en-IN" sz="800" dirty="0"/>
        </a:p>
      </dgm:t>
    </dgm:pt>
    <dgm:pt modelId="{A625ADE2-66A7-4EC3-AB08-81AE1AA65A95}" type="parTrans" cxnId="{CD5CD79C-0E36-42AF-B69C-CE28546E4CB7}">
      <dgm:prSet/>
      <dgm:spPr/>
      <dgm:t>
        <a:bodyPr/>
        <a:lstStyle/>
        <a:p>
          <a:endParaRPr lang="en-IN"/>
        </a:p>
      </dgm:t>
    </dgm:pt>
    <dgm:pt modelId="{DC789804-C9F0-4EA6-B092-4145F5738951}" type="sibTrans" cxnId="{CD5CD79C-0E36-42AF-B69C-CE28546E4CB7}">
      <dgm:prSet/>
      <dgm:spPr/>
      <dgm:t>
        <a:bodyPr/>
        <a:lstStyle/>
        <a:p>
          <a:endParaRPr lang="en-IN"/>
        </a:p>
      </dgm:t>
    </dgm:pt>
    <dgm:pt modelId="{153F5169-5082-4089-90A9-DAAFDF2284C1}">
      <dgm:prSet phldrT="[Text]" custT="1"/>
      <dgm:spPr/>
      <dgm:t>
        <a:bodyPr/>
        <a:lstStyle/>
        <a:p>
          <a:r>
            <a:rPr lang="en-US" sz="800" dirty="0"/>
            <a:t>Group Transfers and F&amp;F for statutory purpose </a:t>
          </a:r>
          <a:endParaRPr lang="en-IN" sz="800" dirty="0"/>
        </a:p>
      </dgm:t>
    </dgm:pt>
    <dgm:pt modelId="{6BE6E79B-0232-497D-A3DE-59357D9162F6}" type="parTrans" cxnId="{48328A92-6840-4265-A67E-5CAA4164FBE6}">
      <dgm:prSet/>
      <dgm:spPr/>
      <dgm:t>
        <a:bodyPr/>
        <a:lstStyle/>
        <a:p>
          <a:endParaRPr lang="en-IN"/>
        </a:p>
      </dgm:t>
    </dgm:pt>
    <dgm:pt modelId="{ADA3D8F7-602F-4A56-AAB3-B4267BDD42C3}" type="sibTrans" cxnId="{48328A92-6840-4265-A67E-5CAA4164FBE6}">
      <dgm:prSet/>
      <dgm:spPr/>
      <dgm:t>
        <a:bodyPr/>
        <a:lstStyle/>
        <a:p>
          <a:endParaRPr lang="en-IN"/>
        </a:p>
      </dgm:t>
    </dgm:pt>
    <dgm:pt modelId="{39DB4BA5-3BC6-4D03-AC38-CDA94453CEA1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56896" tIns="5080" rIns="5080" bIns="5080" numCol="1" spcCol="1270" anchor="ctr" anchorCtr="0"/>
        <a:lstStyle/>
        <a:p>
          <a:r>
            <a:rPr lang="en-US" sz="800" kern="1200" dirty="0">
              <a:latin typeface="+mn-lt"/>
            </a:rPr>
            <a:t>Investment Declaration and Proof submission</a:t>
          </a:r>
          <a:endParaRPr lang="en-IN" sz="800" kern="1200" dirty="0">
            <a:latin typeface="+mn-lt"/>
          </a:endParaRPr>
        </a:p>
      </dgm:t>
    </dgm:pt>
    <dgm:pt modelId="{9F012171-519A-4557-A633-7AF22DAD9CE7}" type="parTrans" cxnId="{BF536093-7B0F-4EC3-8C35-A1FAC3B1F185}">
      <dgm:prSet/>
      <dgm:spPr/>
      <dgm:t>
        <a:bodyPr/>
        <a:lstStyle/>
        <a:p>
          <a:endParaRPr lang="en-IN"/>
        </a:p>
      </dgm:t>
    </dgm:pt>
    <dgm:pt modelId="{2D86FD8A-5089-4C77-84FF-147ABEE02DB8}" type="sibTrans" cxnId="{BF536093-7B0F-4EC3-8C35-A1FAC3B1F185}">
      <dgm:prSet/>
      <dgm:spPr/>
      <dgm:t>
        <a:bodyPr/>
        <a:lstStyle/>
        <a:p>
          <a:endParaRPr lang="en-IN"/>
        </a:p>
      </dgm:t>
    </dgm:pt>
    <dgm:pt modelId="{9FE93996-4CDD-4E5C-99E9-9C1AAD09498D}">
      <dgm:prSet custT="1"/>
      <dgm:spPr/>
      <dgm:t>
        <a:bodyPr/>
        <a:lstStyle/>
        <a:p>
          <a:r>
            <a:rPr lang="en-US" sz="800" dirty="0"/>
            <a:t>Reports for statutory purpose</a:t>
          </a:r>
          <a:endParaRPr lang="en-IN" sz="800" dirty="0"/>
        </a:p>
      </dgm:t>
    </dgm:pt>
    <dgm:pt modelId="{7EEFF43E-ABD4-40C0-9901-5318AD6184D2}" type="parTrans" cxnId="{B241114C-9B98-43A8-AD22-ADB8AAC67C1E}">
      <dgm:prSet/>
      <dgm:spPr/>
      <dgm:t>
        <a:bodyPr/>
        <a:lstStyle/>
        <a:p>
          <a:endParaRPr lang="en-IN"/>
        </a:p>
      </dgm:t>
    </dgm:pt>
    <dgm:pt modelId="{C7A88B94-0F79-4F55-886E-5A67043FFCD6}" type="sibTrans" cxnId="{B241114C-9B98-43A8-AD22-ADB8AAC67C1E}">
      <dgm:prSet/>
      <dgm:spPr/>
      <dgm:t>
        <a:bodyPr/>
        <a:lstStyle/>
        <a:p>
          <a:endParaRPr lang="en-IN"/>
        </a:p>
      </dgm:t>
    </dgm:pt>
    <dgm:pt modelId="{D562BF02-1012-47B1-A3A7-070F7E5A8E50}" type="pres">
      <dgm:prSet presAssocID="{F5645655-7827-4BCD-9C8D-6D76206697EF}" presName="linearFlow" presStyleCnt="0">
        <dgm:presLayoutVars>
          <dgm:dir/>
          <dgm:animLvl val="lvl"/>
          <dgm:resizeHandles val="exact"/>
        </dgm:presLayoutVars>
      </dgm:prSet>
      <dgm:spPr/>
    </dgm:pt>
    <dgm:pt modelId="{29CD0C00-FB83-43D0-91F2-DA5170BC86E9}" type="pres">
      <dgm:prSet presAssocID="{791A69F8-359F-4C96-B391-3778F99A29CB}" presName="composite" presStyleCnt="0"/>
      <dgm:spPr/>
    </dgm:pt>
    <dgm:pt modelId="{E1895196-D622-405A-AFB0-47B3B64F1DCD}" type="pres">
      <dgm:prSet presAssocID="{791A69F8-359F-4C96-B391-3778F99A29CB}" presName="parentText" presStyleLbl="alignNode1" presStyleIdx="0" presStyleCnt="6" custScaleX="118938" custLinFactNeighborX="-3120" custLinFactNeighborY="-2184">
        <dgm:presLayoutVars>
          <dgm:chMax val="1"/>
          <dgm:bulletEnabled val="1"/>
        </dgm:presLayoutVars>
      </dgm:prSet>
      <dgm:spPr/>
    </dgm:pt>
    <dgm:pt modelId="{0D5DCD5C-A4E6-4597-8493-EF6F3ABDF319}" type="pres">
      <dgm:prSet presAssocID="{791A69F8-359F-4C96-B391-3778F99A29CB}" presName="descendantText" presStyleLbl="alignAcc1" presStyleIdx="0" presStyleCnt="6" custScaleX="97636" custLinFactNeighborX="342">
        <dgm:presLayoutVars>
          <dgm:bulletEnabled val="1"/>
        </dgm:presLayoutVars>
      </dgm:prSet>
      <dgm:spPr/>
    </dgm:pt>
    <dgm:pt modelId="{117B9013-2A4D-4BCD-BF5F-6447A4FBBD9C}" type="pres">
      <dgm:prSet presAssocID="{9BF4ED28-E155-448B-A318-9F80D03F4122}" presName="sp" presStyleCnt="0"/>
      <dgm:spPr/>
    </dgm:pt>
    <dgm:pt modelId="{8FAB6515-D793-49DA-9BC9-291D8465BCC0}" type="pres">
      <dgm:prSet presAssocID="{47DE7789-3991-407B-9306-646A5D51F303}" presName="composite" presStyleCnt="0"/>
      <dgm:spPr/>
    </dgm:pt>
    <dgm:pt modelId="{2EAF7D0D-2BB3-4633-B850-5CD551168350}" type="pres">
      <dgm:prSet presAssocID="{47DE7789-3991-407B-9306-646A5D51F303}" presName="parentText" presStyleLbl="alignNode1" presStyleIdx="1" presStyleCnt="6" custScaleX="110000">
        <dgm:presLayoutVars>
          <dgm:chMax val="1"/>
          <dgm:bulletEnabled val="1"/>
        </dgm:presLayoutVars>
      </dgm:prSet>
      <dgm:spPr/>
    </dgm:pt>
    <dgm:pt modelId="{7E1528D9-BDB8-4405-A008-7162A26A2389}" type="pres">
      <dgm:prSet presAssocID="{47DE7789-3991-407B-9306-646A5D51F303}" presName="descendantText" presStyleLbl="alignAcc1" presStyleIdx="1" presStyleCnt="6" custScaleX="97636" custLinFactNeighborX="140">
        <dgm:presLayoutVars>
          <dgm:bulletEnabled val="1"/>
        </dgm:presLayoutVars>
      </dgm:prSet>
      <dgm:spPr/>
    </dgm:pt>
    <dgm:pt modelId="{A7B68488-3FCF-40E2-B3D9-F8100821E7FD}" type="pres">
      <dgm:prSet presAssocID="{43505DEC-65D6-47C3-A67F-C47DAEF126DA}" presName="sp" presStyleCnt="0"/>
      <dgm:spPr/>
    </dgm:pt>
    <dgm:pt modelId="{D9A459EB-0CE6-4476-878C-1C2B6639BD79}" type="pres">
      <dgm:prSet presAssocID="{AC25B001-F586-403A-BB5C-C016C4CD50DB}" presName="composite" presStyleCnt="0"/>
      <dgm:spPr/>
    </dgm:pt>
    <dgm:pt modelId="{C9B4F4DF-CC93-4634-B413-E7C2EC051F40}" type="pres">
      <dgm:prSet presAssocID="{AC25B001-F586-403A-BB5C-C016C4CD50DB}" presName="parentText" presStyleLbl="alignNode1" presStyleIdx="2" presStyleCnt="6" custScaleX="110000" custLinFactNeighborY="0">
        <dgm:presLayoutVars>
          <dgm:chMax val="1"/>
          <dgm:bulletEnabled val="1"/>
        </dgm:presLayoutVars>
      </dgm:prSet>
      <dgm:spPr/>
    </dgm:pt>
    <dgm:pt modelId="{0C9FB1E9-8B01-4B29-8D21-2CC53D06ECAE}" type="pres">
      <dgm:prSet presAssocID="{AC25B001-F586-403A-BB5C-C016C4CD50DB}" presName="descendantText" presStyleLbl="alignAcc1" presStyleIdx="2" presStyleCnt="6" custScaleX="97636" custLinFactNeighborX="697">
        <dgm:presLayoutVars>
          <dgm:bulletEnabled val="1"/>
        </dgm:presLayoutVars>
      </dgm:prSet>
      <dgm:spPr>
        <a:xfrm rot="5400000">
          <a:off x="3372725" y="-1410856"/>
          <a:ext cx="493527" cy="5960774"/>
        </a:xfrm>
        <a:prstGeom prst="round2SameRect">
          <a:avLst/>
        </a:prstGeom>
      </dgm:spPr>
    </dgm:pt>
    <dgm:pt modelId="{45678BF1-5550-4F1A-BD5E-EAE65631ECAF}" type="pres">
      <dgm:prSet presAssocID="{3A5E9BD6-70DE-40CA-A9E8-8EEC6BF9D7D0}" presName="sp" presStyleCnt="0"/>
      <dgm:spPr/>
    </dgm:pt>
    <dgm:pt modelId="{97006A51-4CA4-482F-A2C1-38B009D176C5}" type="pres">
      <dgm:prSet presAssocID="{F68A82C8-E7BA-41F9-95FB-B7EB1AEB56F3}" presName="composite" presStyleCnt="0"/>
      <dgm:spPr/>
    </dgm:pt>
    <dgm:pt modelId="{3B105B92-ECF1-4B68-86E1-B6CE5086D2B8}" type="pres">
      <dgm:prSet presAssocID="{F68A82C8-E7BA-41F9-95FB-B7EB1AEB56F3}" presName="parentText" presStyleLbl="alignNode1" presStyleIdx="3" presStyleCnt="6" custScaleX="110000">
        <dgm:presLayoutVars>
          <dgm:chMax val="1"/>
          <dgm:bulletEnabled val="1"/>
        </dgm:presLayoutVars>
      </dgm:prSet>
      <dgm:spPr/>
    </dgm:pt>
    <dgm:pt modelId="{984D69EF-E39D-4E35-B46E-B793E9B4EA67}" type="pres">
      <dgm:prSet presAssocID="{F68A82C8-E7BA-41F9-95FB-B7EB1AEB56F3}" presName="descendantText" presStyleLbl="alignAcc1" presStyleIdx="3" presStyleCnt="6" custScaleX="97120" custLinFactNeighborX="311">
        <dgm:presLayoutVars>
          <dgm:bulletEnabled val="1"/>
        </dgm:presLayoutVars>
      </dgm:prSet>
      <dgm:spPr/>
    </dgm:pt>
    <dgm:pt modelId="{52917CEC-6F94-40FC-BF73-2711C44F0FE1}" type="pres">
      <dgm:prSet presAssocID="{85AF2818-4BFA-4E73-AE95-56B7D3E696A1}" presName="sp" presStyleCnt="0"/>
      <dgm:spPr/>
    </dgm:pt>
    <dgm:pt modelId="{E04E0F1A-08FC-4A9E-8E8F-4BA99281C158}" type="pres">
      <dgm:prSet presAssocID="{DC79799C-68A3-415B-9AEA-03E12FBB551A}" presName="composite" presStyleCnt="0"/>
      <dgm:spPr/>
    </dgm:pt>
    <dgm:pt modelId="{C3E514FF-9B69-491C-AE8C-D50DEBC9E159}" type="pres">
      <dgm:prSet presAssocID="{DC79799C-68A3-415B-9AEA-03E12FBB551A}" presName="parentText" presStyleLbl="alignNode1" presStyleIdx="4" presStyleCnt="6" custScaleX="110000">
        <dgm:presLayoutVars>
          <dgm:chMax val="1"/>
          <dgm:bulletEnabled val="1"/>
        </dgm:presLayoutVars>
      </dgm:prSet>
      <dgm:spPr/>
    </dgm:pt>
    <dgm:pt modelId="{EA529F6D-7E4C-425D-A049-4682C5AA528D}" type="pres">
      <dgm:prSet presAssocID="{DC79799C-68A3-415B-9AEA-03E12FBB551A}" presName="descendantText" presStyleLbl="alignAcc1" presStyleIdx="4" presStyleCnt="6" custScaleX="97971" custLinFactNeighborX="541" custLinFactNeighborY="9155">
        <dgm:presLayoutVars>
          <dgm:bulletEnabled val="1"/>
        </dgm:presLayoutVars>
      </dgm:prSet>
      <dgm:spPr>
        <a:xfrm rot="5400000">
          <a:off x="3372908" y="-761889"/>
          <a:ext cx="493527" cy="5981226"/>
        </a:xfrm>
        <a:prstGeom prst="round2SameRect">
          <a:avLst/>
        </a:prstGeom>
      </dgm:spPr>
    </dgm:pt>
    <dgm:pt modelId="{747E1A73-A417-412C-B34D-462C3202D16F}" type="pres">
      <dgm:prSet presAssocID="{5342E603-5BF3-4E5E-9E3D-38343141FFF0}" presName="sp" presStyleCnt="0"/>
      <dgm:spPr/>
    </dgm:pt>
    <dgm:pt modelId="{548D0E97-7813-4F39-AFF4-40EBEC34BB2B}" type="pres">
      <dgm:prSet presAssocID="{E4415235-E13A-4AF3-9653-0CAF99999764}" presName="composite" presStyleCnt="0"/>
      <dgm:spPr/>
    </dgm:pt>
    <dgm:pt modelId="{A8002792-6263-4E9E-AEFB-C1309A48B61F}" type="pres">
      <dgm:prSet presAssocID="{E4415235-E13A-4AF3-9653-0CAF99999764}" presName="parentText" presStyleLbl="alignNode1" presStyleIdx="5" presStyleCnt="6" custScaleX="110000">
        <dgm:presLayoutVars>
          <dgm:chMax val="1"/>
          <dgm:bulletEnabled val="1"/>
        </dgm:presLayoutVars>
      </dgm:prSet>
      <dgm:spPr/>
    </dgm:pt>
    <dgm:pt modelId="{4D18DC2D-B6FD-44B8-B721-3DAB5A436122}" type="pres">
      <dgm:prSet presAssocID="{E4415235-E13A-4AF3-9653-0CAF99999764}" presName="descendantText" presStyleLbl="alignAcc1" presStyleIdx="5" presStyleCnt="6" custScaleX="97358" custLinFactNeighborX="161" custLinFactNeighborY="5493">
        <dgm:presLayoutVars>
          <dgm:bulletEnabled val="1"/>
        </dgm:presLayoutVars>
      </dgm:prSet>
      <dgm:spPr/>
    </dgm:pt>
  </dgm:ptLst>
  <dgm:cxnLst>
    <dgm:cxn modelId="{CFD4320D-0136-4DB0-9C66-E8681A1FECCE}" type="presOf" srcId="{8D7897BD-AE38-4C53-B3CC-E75288C4D54A}" destId="{4D18DC2D-B6FD-44B8-B721-3DAB5A436122}" srcOrd="0" destOrd="0" presId="urn:microsoft.com/office/officeart/2005/8/layout/chevron2"/>
    <dgm:cxn modelId="{CE929F16-EC42-4BCA-BA62-40EC38EBC62B}" srcId="{AC25B001-F586-403A-BB5C-C016C4CD50DB}" destId="{BFB68A56-A086-4ECA-9ADA-E0E0BA8DAD11}" srcOrd="0" destOrd="0" parTransId="{8F6FF369-48E9-4889-8185-C6D075AADEAB}" sibTransId="{95F72FEB-9225-4217-A845-2C42B6890387}"/>
    <dgm:cxn modelId="{82C0D617-01A5-4B09-B3F3-5ED4AC3CE896}" type="presOf" srcId="{BFB68A56-A086-4ECA-9ADA-E0E0BA8DAD11}" destId="{0C9FB1E9-8B01-4B29-8D21-2CC53D06ECAE}" srcOrd="0" destOrd="0" presId="urn:microsoft.com/office/officeart/2005/8/layout/chevron2"/>
    <dgm:cxn modelId="{64F12E1D-89BD-45D6-A62A-BE28391F30C7}" srcId="{F5645655-7827-4BCD-9C8D-6D76206697EF}" destId="{791A69F8-359F-4C96-B391-3778F99A29CB}" srcOrd="0" destOrd="0" parTransId="{F0654550-905F-442D-AB03-8A21BC13F086}" sibTransId="{9BF4ED28-E155-448B-A318-9F80D03F4122}"/>
    <dgm:cxn modelId="{856E4C23-2FC2-49E5-AE07-580948C30350}" type="presOf" srcId="{AC25B001-F586-403A-BB5C-C016C4CD50DB}" destId="{C9B4F4DF-CC93-4634-B413-E7C2EC051F40}" srcOrd="0" destOrd="0" presId="urn:microsoft.com/office/officeart/2005/8/layout/chevron2"/>
    <dgm:cxn modelId="{8C85F42E-2175-4E9C-9EC5-A22C51F543D1}" type="presOf" srcId="{474FE41A-3283-4398-99AE-24D2C660EB9C}" destId="{984D69EF-E39D-4E35-B46E-B793E9B4EA67}" srcOrd="0" destOrd="0" presId="urn:microsoft.com/office/officeart/2005/8/layout/chevron2"/>
    <dgm:cxn modelId="{EA774A30-6457-4B39-A7C2-7E2750F4C1D2}" type="presOf" srcId="{39DB4BA5-3BC6-4D03-AC38-CDA94453CEA1}" destId="{EA529F6D-7E4C-425D-A049-4682C5AA528D}" srcOrd="0" destOrd="2" presId="urn:microsoft.com/office/officeart/2005/8/layout/chevron2"/>
    <dgm:cxn modelId="{B88BFF37-E315-422C-AE83-B90075D7FBE5}" type="presOf" srcId="{F5645655-7827-4BCD-9C8D-6D76206697EF}" destId="{D562BF02-1012-47B1-A3A7-070F7E5A8E50}" srcOrd="0" destOrd="0" presId="urn:microsoft.com/office/officeart/2005/8/layout/chevron2"/>
    <dgm:cxn modelId="{B241114C-9B98-43A8-AD22-ADB8AAC67C1E}" srcId="{F68A82C8-E7BA-41F9-95FB-B7EB1AEB56F3}" destId="{9FE93996-4CDD-4E5C-99E9-9C1AAD09498D}" srcOrd="1" destOrd="0" parTransId="{7EEFF43E-ABD4-40C0-9901-5318AD6184D2}" sibTransId="{C7A88B94-0F79-4F55-886E-5A67043FFCD6}"/>
    <dgm:cxn modelId="{7053134E-B58C-4834-8812-B32A77CDB09E}" type="presOf" srcId="{153F5169-5082-4089-90A9-DAAFDF2284C1}" destId="{4D18DC2D-B6FD-44B8-B721-3DAB5A436122}" srcOrd="0" destOrd="1" presId="urn:microsoft.com/office/officeart/2005/8/layout/chevron2"/>
    <dgm:cxn modelId="{E423B857-4C25-483A-8278-D930A09FE1F1}" srcId="{791A69F8-359F-4C96-B391-3778F99A29CB}" destId="{451C0CD4-75EB-4838-8384-662ED76C2A90}" srcOrd="1" destOrd="0" parTransId="{B23BE8B2-70E9-41E9-AC4B-1D471E0A625A}" sibTransId="{9A042EC1-E352-41FC-A4C0-C9FE3F5A229C}"/>
    <dgm:cxn modelId="{5043B864-8C50-4508-8051-219F77B106BD}" srcId="{DC79799C-68A3-415B-9AEA-03E12FBB551A}" destId="{78253020-DC5A-4C88-BEB3-4D794796FDF7}" srcOrd="1" destOrd="0" parTransId="{1FA6ACD1-71C6-41A2-BF42-0AA6BDD930C4}" sibTransId="{B6A0887A-F61F-4CA0-A5F9-EF0C18801068}"/>
    <dgm:cxn modelId="{403CB36A-7D5C-42BC-AAB5-8269F8EF414A}" srcId="{AC25B001-F586-403A-BB5C-C016C4CD50DB}" destId="{EC199EA7-A4CC-4F05-8157-1D626E509F8F}" srcOrd="2" destOrd="0" parTransId="{FFC0C1FF-E36D-4ABF-A54F-3E6A33E4A50B}" sibTransId="{13601552-FD32-474E-A3D2-27020BCA8A76}"/>
    <dgm:cxn modelId="{8AD39071-AE0D-4091-B292-D2BE0AAF5B07}" srcId="{47DE7789-3991-407B-9306-646A5D51F303}" destId="{3F060F41-35BF-4F9B-A0CC-6E01820A202D}" srcOrd="1" destOrd="0" parTransId="{2AEADEED-6A88-4179-84C4-179D6D873D73}" sibTransId="{AA433800-997B-4FE2-88D2-F70C2451E770}"/>
    <dgm:cxn modelId="{686DDA82-2560-49E6-AC89-FBE6DEF19741}" type="presOf" srcId="{EED3D0A0-A2C5-41B7-B9DD-579F79F580DA}" destId="{0C9FB1E9-8B01-4B29-8D21-2CC53D06ECAE}" srcOrd="0" destOrd="1" presId="urn:microsoft.com/office/officeart/2005/8/layout/chevron2"/>
    <dgm:cxn modelId="{D004F682-D181-42D1-BA6C-DF917534E5F4}" srcId="{F5645655-7827-4BCD-9C8D-6D76206697EF}" destId="{F68A82C8-E7BA-41F9-95FB-B7EB1AEB56F3}" srcOrd="3" destOrd="0" parTransId="{F015AD72-D442-4D02-8460-7850D5724B56}" sibTransId="{85AF2818-4BFA-4E73-AE95-56B7D3E696A1}"/>
    <dgm:cxn modelId="{9B2CC986-5DF5-49A4-9CBB-84BA6056D9E2}" srcId="{AC25B001-F586-403A-BB5C-C016C4CD50DB}" destId="{EED3D0A0-A2C5-41B7-B9DD-579F79F580DA}" srcOrd="1" destOrd="0" parTransId="{E85C957C-E0C7-48AA-9E82-1994E8F832FE}" sibTransId="{5BC07B73-FB4D-4426-95F2-E23CD4FAC7D2}"/>
    <dgm:cxn modelId="{5F24058C-1212-4702-AC56-A7953F4939C2}" type="presOf" srcId="{3F060F41-35BF-4F9B-A0CC-6E01820A202D}" destId="{7E1528D9-BDB8-4405-A008-7162A26A2389}" srcOrd="0" destOrd="1" presId="urn:microsoft.com/office/officeart/2005/8/layout/chevron2"/>
    <dgm:cxn modelId="{BB29B58E-66E0-49F7-986A-ACE57658574A}" type="presOf" srcId="{451C0CD4-75EB-4838-8384-662ED76C2A90}" destId="{0D5DCD5C-A4E6-4597-8493-EF6F3ABDF319}" srcOrd="0" destOrd="1" presId="urn:microsoft.com/office/officeart/2005/8/layout/chevron2"/>
    <dgm:cxn modelId="{48328A92-6840-4265-A67E-5CAA4164FBE6}" srcId="{E4415235-E13A-4AF3-9653-0CAF99999764}" destId="{153F5169-5082-4089-90A9-DAAFDF2284C1}" srcOrd="1" destOrd="0" parTransId="{6BE6E79B-0232-497D-A3DE-59357D9162F6}" sibTransId="{ADA3D8F7-602F-4A56-AAB3-B4267BDD42C3}"/>
    <dgm:cxn modelId="{AED2E592-01F8-45EB-9D6F-9181E20613BA}" srcId="{F5645655-7827-4BCD-9C8D-6D76206697EF}" destId="{AC25B001-F586-403A-BB5C-C016C4CD50DB}" srcOrd="2" destOrd="0" parTransId="{76CE337A-6853-4C5D-BDCF-33FCAFB024FF}" sibTransId="{3A5E9BD6-70DE-40CA-A9E8-8EEC6BF9D7D0}"/>
    <dgm:cxn modelId="{BF536093-7B0F-4EC3-8C35-A1FAC3B1F185}" srcId="{DC79799C-68A3-415B-9AEA-03E12FBB551A}" destId="{39DB4BA5-3BC6-4D03-AC38-CDA94453CEA1}" srcOrd="2" destOrd="0" parTransId="{9F012171-519A-4557-A633-7AF22DAD9CE7}" sibTransId="{2D86FD8A-5089-4C77-84FF-147ABEE02DB8}"/>
    <dgm:cxn modelId="{FE98D29A-B6E5-4E36-B014-9AF4DD05A408}" srcId="{F68A82C8-E7BA-41F9-95FB-B7EB1AEB56F3}" destId="{474FE41A-3283-4398-99AE-24D2C660EB9C}" srcOrd="0" destOrd="0" parTransId="{11230A14-18A6-4E72-B777-30604C56865E}" sibTransId="{8D5AD0BB-D302-4A72-9123-071B9A40E8E2}"/>
    <dgm:cxn modelId="{C9F8B89B-6FA4-4EF8-9FB7-71D46C46E6EB}" type="presOf" srcId="{8D2C1146-10E6-4C88-BC50-B5852C1E3A12}" destId="{EA529F6D-7E4C-425D-A049-4682C5AA528D}" srcOrd="0" destOrd="0" presId="urn:microsoft.com/office/officeart/2005/8/layout/chevron2"/>
    <dgm:cxn modelId="{CD5CD79C-0E36-42AF-B69C-CE28546E4CB7}" srcId="{E4415235-E13A-4AF3-9653-0CAF99999764}" destId="{8D7897BD-AE38-4C53-B3CC-E75288C4D54A}" srcOrd="0" destOrd="0" parTransId="{A625ADE2-66A7-4EC3-AB08-81AE1AA65A95}" sibTransId="{DC789804-C9F0-4EA6-B092-4145F5738951}"/>
    <dgm:cxn modelId="{33D2AEA0-5BF5-4A54-B70B-4878661E836B}" type="presOf" srcId="{66BE73A8-7E4F-4EFF-8A04-04A5A36F4E53}" destId="{7E1528D9-BDB8-4405-A008-7162A26A2389}" srcOrd="0" destOrd="0" presId="urn:microsoft.com/office/officeart/2005/8/layout/chevron2"/>
    <dgm:cxn modelId="{234887A5-9B95-48E0-8D5F-29B31FF55DE4}" type="presOf" srcId="{78253020-DC5A-4C88-BEB3-4D794796FDF7}" destId="{EA529F6D-7E4C-425D-A049-4682C5AA528D}" srcOrd="0" destOrd="1" presId="urn:microsoft.com/office/officeart/2005/8/layout/chevron2"/>
    <dgm:cxn modelId="{3B8181A8-FC3C-40F5-835E-CB46D9249FC3}" type="presOf" srcId="{CBCDBA4B-753A-4507-978C-AF273F726DF6}" destId="{0D5DCD5C-A4E6-4597-8493-EF6F3ABDF319}" srcOrd="0" destOrd="0" presId="urn:microsoft.com/office/officeart/2005/8/layout/chevron2"/>
    <dgm:cxn modelId="{7232E8AB-7CA8-407B-A86E-D7311E76AEDE}" type="presOf" srcId="{E4415235-E13A-4AF3-9653-0CAF99999764}" destId="{A8002792-6263-4E9E-AEFB-C1309A48B61F}" srcOrd="0" destOrd="0" presId="urn:microsoft.com/office/officeart/2005/8/layout/chevron2"/>
    <dgm:cxn modelId="{6AFB18AD-EF10-4112-9548-694D555BC18F}" srcId="{791A69F8-359F-4C96-B391-3778F99A29CB}" destId="{CBCDBA4B-753A-4507-978C-AF273F726DF6}" srcOrd="0" destOrd="0" parTransId="{0DA7FFC2-FE7D-4AE0-BCA4-366256C82E4F}" sibTransId="{15BC3984-39E0-45E7-9DC9-CC647FE05AC2}"/>
    <dgm:cxn modelId="{27E994B9-E017-49B5-8DA9-CE1E8C86BB3B}" srcId="{DC79799C-68A3-415B-9AEA-03E12FBB551A}" destId="{8D2C1146-10E6-4C88-BC50-B5852C1E3A12}" srcOrd="0" destOrd="0" parTransId="{89C95A7A-E634-4909-B0E3-F1030307BB08}" sibTransId="{9A3A1908-ED19-4D96-8B2F-15EA67F8BAE1}"/>
    <dgm:cxn modelId="{A1C63BC1-80BA-4269-895A-25BF78097CB4}" type="presOf" srcId="{DC79799C-68A3-415B-9AEA-03E12FBB551A}" destId="{C3E514FF-9B69-491C-AE8C-D50DEBC9E159}" srcOrd="0" destOrd="0" presId="urn:microsoft.com/office/officeart/2005/8/layout/chevron2"/>
    <dgm:cxn modelId="{34D013C2-8183-43F5-9945-E0D86C01F491}" srcId="{F5645655-7827-4BCD-9C8D-6D76206697EF}" destId="{E4415235-E13A-4AF3-9653-0CAF99999764}" srcOrd="5" destOrd="0" parTransId="{BAC39599-8086-46A8-BF13-B7C987CDE52F}" sibTransId="{8B06B8F1-CB0C-4DAE-891E-356F2F2814B9}"/>
    <dgm:cxn modelId="{8BF7E2C2-C924-47EF-800E-4F8120EA2346}" srcId="{F5645655-7827-4BCD-9C8D-6D76206697EF}" destId="{47DE7789-3991-407B-9306-646A5D51F303}" srcOrd="1" destOrd="0" parTransId="{2DD71FE4-DCA0-4B23-9B72-5127F156F3B6}" sibTransId="{43505DEC-65D6-47C3-A67F-C47DAEF126DA}"/>
    <dgm:cxn modelId="{9989DCC5-C179-46A4-B2C6-8B81DCE0608F}" type="presOf" srcId="{791A69F8-359F-4C96-B391-3778F99A29CB}" destId="{E1895196-D622-405A-AFB0-47B3B64F1DCD}" srcOrd="0" destOrd="0" presId="urn:microsoft.com/office/officeart/2005/8/layout/chevron2"/>
    <dgm:cxn modelId="{61522ACC-1A93-4EB6-A7E3-10ABF0E7BC05}" srcId="{47DE7789-3991-407B-9306-646A5D51F303}" destId="{66BE73A8-7E4F-4EFF-8A04-04A5A36F4E53}" srcOrd="0" destOrd="0" parTransId="{B793EAD8-CC23-434E-9F30-31389C8DE61E}" sibTransId="{179D886B-CBBC-48FF-A058-58D543DFE89F}"/>
    <dgm:cxn modelId="{55D11CE1-03D5-4476-8CF9-EB758F656246}" type="presOf" srcId="{9FE93996-4CDD-4E5C-99E9-9C1AAD09498D}" destId="{984D69EF-E39D-4E35-B46E-B793E9B4EA67}" srcOrd="0" destOrd="1" presId="urn:microsoft.com/office/officeart/2005/8/layout/chevron2"/>
    <dgm:cxn modelId="{53AD40E9-3196-4C10-82B4-38B5BF7616FF}" type="presOf" srcId="{47DE7789-3991-407B-9306-646A5D51F303}" destId="{2EAF7D0D-2BB3-4633-B850-5CD551168350}" srcOrd="0" destOrd="0" presId="urn:microsoft.com/office/officeart/2005/8/layout/chevron2"/>
    <dgm:cxn modelId="{7B9C00F1-2C32-4594-9070-D8384CDBBC19}" type="presOf" srcId="{EC199EA7-A4CC-4F05-8157-1D626E509F8F}" destId="{0C9FB1E9-8B01-4B29-8D21-2CC53D06ECAE}" srcOrd="0" destOrd="2" presId="urn:microsoft.com/office/officeart/2005/8/layout/chevron2"/>
    <dgm:cxn modelId="{FA1269F8-4227-4813-9504-8AF859E3B146}" srcId="{F5645655-7827-4BCD-9C8D-6D76206697EF}" destId="{DC79799C-68A3-415B-9AEA-03E12FBB551A}" srcOrd="4" destOrd="0" parTransId="{4E7515EF-B0D7-4277-92EA-2B0CFFD8C369}" sibTransId="{5342E603-5BF3-4E5E-9E3D-38343141FFF0}"/>
    <dgm:cxn modelId="{FCAF17FB-ED5C-469C-A5A8-A346CADD4F88}" type="presOf" srcId="{F68A82C8-E7BA-41F9-95FB-B7EB1AEB56F3}" destId="{3B105B92-ECF1-4B68-86E1-B6CE5086D2B8}" srcOrd="0" destOrd="0" presId="urn:microsoft.com/office/officeart/2005/8/layout/chevron2"/>
    <dgm:cxn modelId="{18AB7A7C-EF21-4976-86DD-9A53471C79D2}" type="presParOf" srcId="{D562BF02-1012-47B1-A3A7-070F7E5A8E50}" destId="{29CD0C00-FB83-43D0-91F2-DA5170BC86E9}" srcOrd="0" destOrd="0" presId="urn:microsoft.com/office/officeart/2005/8/layout/chevron2"/>
    <dgm:cxn modelId="{C5998AF7-254D-4C1F-92C4-24931599C02E}" type="presParOf" srcId="{29CD0C00-FB83-43D0-91F2-DA5170BC86E9}" destId="{E1895196-D622-405A-AFB0-47B3B64F1DCD}" srcOrd="0" destOrd="0" presId="urn:microsoft.com/office/officeart/2005/8/layout/chevron2"/>
    <dgm:cxn modelId="{0C9E661A-0EA6-4EF6-ABB4-F7FC8E9ABDFA}" type="presParOf" srcId="{29CD0C00-FB83-43D0-91F2-DA5170BC86E9}" destId="{0D5DCD5C-A4E6-4597-8493-EF6F3ABDF319}" srcOrd="1" destOrd="0" presId="urn:microsoft.com/office/officeart/2005/8/layout/chevron2"/>
    <dgm:cxn modelId="{0AEA894B-A33C-4FEE-9721-2672D3908674}" type="presParOf" srcId="{D562BF02-1012-47B1-A3A7-070F7E5A8E50}" destId="{117B9013-2A4D-4BCD-BF5F-6447A4FBBD9C}" srcOrd="1" destOrd="0" presId="urn:microsoft.com/office/officeart/2005/8/layout/chevron2"/>
    <dgm:cxn modelId="{AC608F6C-0C45-44D3-875D-BC42F884C4A8}" type="presParOf" srcId="{D562BF02-1012-47B1-A3A7-070F7E5A8E50}" destId="{8FAB6515-D793-49DA-9BC9-291D8465BCC0}" srcOrd="2" destOrd="0" presId="urn:microsoft.com/office/officeart/2005/8/layout/chevron2"/>
    <dgm:cxn modelId="{8D0D68BD-6324-40FA-8725-A2B9DF470CF1}" type="presParOf" srcId="{8FAB6515-D793-49DA-9BC9-291D8465BCC0}" destId="{2EAF7D0D-2BB3-4633-B850-5CD551168350}" srcOrd="0" destOrd="0" presId="urn:microsoft.com/office/officeart/2005/8/layout/chevron2"/>
    <dgm:cxn modelId="{2CB3DBC6-5A7D-4238-AC9E-BF82B4D8BE1E}" type="presParOf" srcId="{8FAB6515-D793-49DA-9BC9-291D8465BCC0}" destId="{7E1528D9-BDB8-4405-A008-7162A26A2389}" srcOrd="1" destOrd="0" presId="urn:microsoft.com/office/officeart/2005/8/layout/chevron2"/>
    <dgm:cxn modelId="{B0E8FB4D-1DEA-4D16-B358-1374C8DBF32E}" type="presParOf" srcId="{D562BF02-1012-47B1-A3A7-070F7E5A8E50}" destId="{A7B68488-3FCF-40E2-B3D9-F8100821E7FD}" srcOrd="3" destOrd="0" presId="urn:microsoft.com/office/officeart/2005/8/layout/chevron2"/>
    <dgm:cxn modelId="{D6C2DED6-F72B-47D5-BCB9-72B920D00308}" type="presParOf" srcId="{D562BF02-1012-47B1-A3A7-070F7E5A8E50}" destId="{D9A459EB-0CE6-4476-878C-1C2B6639BD79}" srcOrd="4" destOrd="0" presId="urn:microsoft.com/office/officeart/2005/8/layout/chevron2"/>
    <dgm:cxn modelId="{B25BEEF9-5DD8-475C-9A73-4A89526C0621}" type="presParOf" srcId="{D9A459EB-0CE6-4476-878C-1C2B6639BD79}" destId="{C9B4F4DF-CC93-4634-B413-E7C2EC051F40}" srcOrd="0" destOrd="0" presId="urn:microsoft.com/office/officeart/2005/8/layout/chevron2"/>
    <dgm:cxn modelId="{CF29443C-BBB6-451C-8AE1-FC50F1DEF2A8}" type="presParOf" srcId="{D9A459EB-0CE6-4476-878C-1C2B6639BD79}" destId="{0C9FB1E9-8B01-4B29-8D21-2CC53D06ECAE}" srcOrd="1" destOrd="0" presId="urn:microsoft.com/office/officeart/2005/8/layout/chevron2"/>
    <dgm:cxn modelId="{827E6F4A-3772-4276-BDE9-63FED4A5A2BF}" type="presParOf" srcId="{D562BF02-1012-47B1-A3A7-070F7E5A8E50}" destId="{45678BF1-5550-4F1A-BD5E-EAE65631ECAF}" srcOrd="5" destOrd="0" presId="urn:microsoft.com/office/officeart/2005/8/layout/chevron2"/>
    <dgm:cxn modelId="{6C6EB3CC-6A35-42E9-9AC4-615A9C6892EE}" type="presParOf" srcId="{D562BF02-1012-47B1-A3A7-070F7E5A8E50}" destId="{97006A51-4CA4-482F-A2C1-38B009D176C5}" srcOrd="6" destOrd="0" presId="urn:microsoft.com/office/officeart/2005/8/layout/chevron2"/>
    <dgm:cxn modelId="{2E1CA4D1-C61B-40F6-888B-4CB8956E7402}" type="presParOf" srcId="{97006A51-4CA4-482F-A2C1-38B009D176C5}" destId="{3B105B92-ECF1-4B68-86E1-B6CE5086D2B8}" srcOrd="0" destOrd="0" presId="urn:microsoft.com/office/officeart/2005/8/layout/chevron2"/>
    <dgm:cxn modelId="{34DE9B77-B198-4491-88E0-5544D9226078}" type="presParOf" srcId="{97006A51-4CA4-482F-A2C1-38B009D176C5}" destId="{984D69EF-E39D-4E35-B46E-B793E9B4EA67}" srcOrd="1" destOrd="0" presId="urn:microsoft.com/office/officeart/2005/8/layout/chevron2"/>
    <dgm:cxn modelId="{3D947CB3-E992-4244-AC96-461D1D17C454}" type="presParOf" srcId="{D562BF02-1012-47B1-A3A7-070F7E5A8E50}" destId="{52917CEC-6F94-40FC-BF73-2711C44F0FE1}" srcOrd="7" destOrd="0" presId="urn:microsoft.com/office/officeart/2005/8/layout/chevron2"/>
    <dgm:cxn modelId="{C3CAE6F8-465F-40F3-9CC6-CDFA45C1D1AA}" type="presParOf" srcId="{D562BF02-1012-47B1-A3A7-070F7E5A8E50}" destId="{E04E0F1A-08FC-4A9E-8E8F-4BA99281C158}" srcOrd="8" destOrd="0" presId="urn:microsoft.com/office/officeart/2005/8/layout/chevron2"/>
    <dgm:cxn modelId="{77D41D26-C474-4E53-8EF2-4CD4BEFDDEE3}" type="presParOf" srcId="{E04E0F1A-08FC-4A9E-8E8F-4BA99281C158}" destId="{C3E514FF-9B69-491C-AE8C-D50DEBC9E159}" srcOrd="0" destOrd="0" presId="urn:microsoft.com/office/officeart/2005/8/layout/chevron2"/>
    <dgm:cxn modelId="{D18971EF-7CD3-45A4-B2E7-981E9396365A}" type="presParOf" srcId="{E04E0F1A-08FC-4A9E-8E8F-4BA99281C158}" destId="{EA529F6D-7E4C-425D-A049-4682C5AA528D}" srcOrd="1" destOrd="0" presId="urn:microsoft.com/office/officeart/2005/8/layout/chevron2"/>
    <dgm:cxn modelId="{B36B4AFD-2595-4E46-ACAC-94EABE2E2346}" type="presParOf" srcId="{D562BF02-1012-47B1-A3A7-070F7E5A8E50}" destId="{747E1A73-A417-412C-B34D-462C3202D16F}" srcOrd="9" destOrd="0" presId="urn:microsoft.com/office/officeart/2005/8/layout/chevron2"/>
    <dgm:cxn modelId="{EE585061-4C1C-4A6F-98CF-AAA18475BE27}" type="presParOf" srcId="{D562BF02-1012-47B1-A3A7-070F7E5A8E50}" destId="{548D0E97-7813-4F39-AFF4-40EBEC34BB2B}" srcOrd="10" destOrd="0" presId="urn:microsoft.com/office/officeart/2005/8/layout/chevron2"/>
    <dgm:cxn modelId="{68EFCEEA-9B5A-4025-A495-AB7EE4A0C864}" type="presParOf" srcId="{548D0E97-7813-4F39-AFF4-40EBEC34BB2B}" destId="{A8002792-6263-4E9E-AEFB-C1309A48B61F}" srcOrd="0" destOrd="0" presId="urn:microsoft.com/office/officeart/2005/8/layout/chevron2"/>
    <dgm:cxn modelId="{94C3E6D8-D9E5-4634-8DDD-CF1AFC8628A8}" type="presParOf" srcId="{548D0E97-7813-4F39-AFF4-40EBEC34BB2B}" destId="{4D18DC2D-B6FD-44B8-B721-3DAB5A43612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B4F4DF-CC93-4634-B413-E7C2EC051F40}">
      <dsp:nvSpPr>
        <dsp:cNvPr id="0" name=""/>
        <dsp:cNvSpPr/>
      </dsp:nvSpPr>
      <dsp:spPr>
        <a:xfrm rot="5400000">
          <a:off x="-25342" y="70501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Job Request</a:t>
          </a:r>
          <a:endParaRPr lang="en-IN" sz="700" kern="1200" dirty="0"/>
        </a:p>
      </dsp:txBody>
      <dsp:txXfrm rot="-5400000">
        <a:off x="40545" y="225191"/>
        <a:ext cx="441151" cy="131773"/>
      </dsp:txXfrm>
    </dsp:sp>
    <dsp:sp modelId="{0C9FB1E9-8B01-4B29-8D21-2CC53D06ECAE}">
      <dsp:nvSpPr>
        <dsp:cNvPr id="0" name=""/>
        <dsp:cNvSpPr/>
      </dsp:nvSpPr>
      <dsp:spPr>
        <a:xfrm rot="5400000">
          <a:off x="3401721" y="-2770856"/>
          <a:ext cx="372596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MRF Creation by Recruiter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pproval by ZHR / RHR</a:t>
          </a:r>
          <a:endParaRPr lang="en-IN" sz="800" kern="1200" dirty="0"/>
        </a:p>
      </dsp:txBody>
      <dsp:txXfrm rot="-5400000">
        <a:off x="571389" y="77665"/>
        <a:ext cx="6015072" cy="336218"/>
      </dsp:txXfrm>
    </dsp:sp>
    <dsp:sp modelId="{28238B0B-B251-4D11-9FFC-861665409535}">
      <dsp:nvSpPr>
        <dsp:cNvPr id="0" name=""/>
        <dsp:cNvSpPr/>
      </dsp:nvSpPr>
      <dsp:spPr>
        <a:xfrm rot="5400000">
          <a:off x="-25342" y="567907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Job Opening</a:t>
          </a:r>
          <a:endParaRPr lang="en-IN" sz="700" kern="1200" dirty="0"/>
        </a:p>
      </dsp:txBody>
      <dsp:txXfrm rot="-5400000">
        <a:off x="40545" y="722597"/>
        <a:ext cx="441151" cy="131773"/>
      </dsp:txXfrm>
    </dsp:sp>
    <dsp:sp modelId="{1C714012-CFD2-4D73-A7D4-8FE3E0BD3098}">
      <dsp:nvSpPr>
        <dsp:cNvPr id="0" name=""/>
        <dsp:cNvSpPr/>
      </dsp:nvSpPr>
      <dsp:spPr>
        <a:xfrm rot="5400000">
          <a:off x="3393214" y="-2282697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Job Creation by Recruiter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Opening job in candidate portal or any other portal (Alumni, Career Portal etc.)</a:t>
          </a:r>
          <a:endParaRPr lang="en-IN" sz="800" kern="1200" dirty="0"/>
        </a:p>
      </dsp:txBody>
      <dsp:txXfrm rot="-5400000">
        <a:off x="562784" y="565912"/>
        <a:ext cx="6015082" cy="336042"/>
      </dsp:txXfrm>
    </dsp:sp>
    <dsp:sp modelId="{7AEB83A7-56D2-48C9-A5F0-5AD8A376326F}">
      <dsp:nvSpPr>
        <dsp:cNvPr id="0" name=""/>
        <dsp:cNvSpPr/>
      </dsp:nvSpPr>
      <dsp:spPr>
        <a:xfrm rot="5400000">
          <a:off x="-25342" y="1065314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Screening</a:t>
          </a:r>
          <a:endParaRPr lang="en-IN" sz="800" kern="1200" dirty="0"/>
        </a:p>
      </dsp:txBody>
      <dsp:txXfrm rot="-5400000">
        <a:off x="40545" y="1220004"/>
        <a:ext cx="441151" cy="131773"/>
      </dsp:txXfrm>
    </dsp:sp>
    <dsp:sp modelId="{3010D677-24F5-4621-9843-2520CFAC7F45}">
      <dsp:nvSpPr>
        <dsp:cNvPr id="0" name=""/>
        <dsp:cNvSpPr/>
      </dsp:nvSpPr>
      <dsp:spPr>
        <a:xfrm rot="5400000">
          <a:off x="3393214" y="-1794432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cruiter screening the profiles 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Shortlisting candidates</a:t>
          </a:r>
          <a:endParaRPr lang="en-IN" sz="800" kern="1200" dirty="0"/>
        </a:p>
      </dsp:txBody>
      <dsp:txXfrm rot="-5400000">
        <a:off x="562784" y="1054177"/>
        <a:ext cx="6015082" cy="336042"/>
      </dsp:txXfrm>
    </dsp:sp>
    <dsp:sp modelId="{20A9D781-A829-4B7A-880D-157B0327C36F}">
      <dsp:nvSpPr>
        <dsp:cNvPr id="0" name=""/>
        <dsp:cNvSpPr/>
      </dsp:nvSpPr>
      <dsp:spPr>
        <a:xfrm rot="5400000">
          <a:off x="-25342" y="1562720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 dirty="0"/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Candidate Creation</a:t>
          </a:r>
          <a:endParaRPr lang="en-IN" sz="600" kern="1200" dirty="0"/>
        </a:p>
      </dsp:txBody>
      <dsp:txXfrm rot="-5400000">
        <a:off x="40545" y="1717410"/>
        <a:ext cx="441151" cy="131773"/>
      </dsp:txXfrm>
    </dsp:sp>
    <dsp:sp modelId="{BDDF3BA5-BC7F-4BD8-926D-56E367CAD9D1}">
      <dsp:nvSpPr>
        <dsp:cNvPr id="0" name=""/>
        <dsp:cNvSpPr/>
      </dsp:nvSpPr>
      <dsp:spPr>
        <a:xfrm rot="5400000">
          <a:off x="3393214" y="-1287883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andidate Portal access creation &amp; Providing basic details of candidate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PAN, Aadhaar, Dedupe, Rehire Validations &amp; pushing the details into Frappe HRMS for subsequent processing</a:t>
          </a:r>
          <a:endParaRPr lang="en-IN" sz="800" kern="1200" dirty="0"/>
        </a:p>
      </dsp:txBody>
      <dsp:txXfrm rot="-5400000">
        <a:off x="562784" y="1560726"/>
        <a:ext cx="6015082" cy="336042"/>
      </dsp:txXfrm>
    </dsp:sp>
    <dsp:sp modelId="{4C434DF2-1203-46EC-A736-8F3625C6A502}">
      <dsp:nvSpPr>
        <dsp:cNvPr id="0" name=""/>
        <dsp:cNvSpPr/>
      </dsp:nvSpPr>
      <dsp:spPr>
        <a:xfrm rot="5400000">
          <a:off x="-25342" y="2060127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erview Process</a:t>
          </a:r>
          <a:endParaRPr lang="en-IN" sz="700" kern="1200" dirty="0"/>
        </a:p>
      </dsp:txBody>
      <dsp:txXfrm rot="-5400000">
        <a:off x="40545" y="2214817"/>
        <a:ext cx="441151" cy="131773"/>
      </dsp:txXfrm>
    </dsp:sp>
    <dsp:sp modelId="{5A5DA578-2228-485B-BADB-7E2C184A7120}">
      <dsp:nvSpPr>
        <dsp:cNvPr id="0" name=""/>
        <dsp:cNvSpPr/>
      </dsp:nvSpPr>
      <dsp:spPr>
        <a:xfrm rot="5400000">
          <a:off x="3393214" y="-799619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Scheduling of Interview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Interview Feedback submission by Hiring Manager &amp; HR</a:t>
          </a:r>
          <a:endParaRPr lang="en-IN" sz="800" kern="1200" dirty="0"/>
        </a:p>
      </dsp:txBody>
      <dsp:txXfrm rot="-5400000">
        <a:off x="562784" y="2048990"/>
        <a:ext cx="6015082" cy="336042"/>
      </dsp:txXfrm>
    </dsp:sp>
    <dsp:sp modelId="{F6B5B8A1-61B2-45BB-987C-B24085693519}">
      <dsp:nvSpPr>
        <dsp:cNvPr id="0" name=""/>
        <dsp:cNvSpPr/>
      </dsp:nvSpPr>
      <dsp:spPr>
        <a:xfrm rot="5400000">
          <a:off x="-25342" y="2557534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 dirty="0"/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Salary Fitment</a:t>
          </a:r>
          <a:endParaRPr lang="en-IN" sz="600" kern="1200" dirty="0"/>
        </a:p>
      </dsp:txBody>
      <dsp:txXfrm rot="-5400000">
        <a:off x="40545" y="2712224"/>
        <a:ext cx="441151" cy="131773"/>
      </dsp:txXfrm>
    </dsp:sp>
    <dsp:sp modelId="{640509E3-A0DB-4CD5-AE92-82BAC327E927}">
      <dsp:nvSpPr>
        <dsp:cNvPr id="0" name=""/>
        <dsp:cNvSpPr/>
      </dsp:nvSpPr>
      <dsp:spPr>
        <a:xfrm rot="5400000">
          <a:off x="3393214" y="-293070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reating Multiple variants of CTCs to be offered and Approval by ZHR / Head TA / CHRO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Negotiation and Acceptance by Candidate </a:t>
          </a:r>
          <a:endParaRPr lang="en-IN" sz="800" kern="1200" dirty="0"/>
        </a:p>
      </dsp:txBody>
      <dsp:txXfrm rot="-5400000">
        <a:off x="562784" y="2555539"/>
        <a:ext cx="6015082" cy="336042"/>
      </dsp:txXfrm>
    </dsp:sp>
    <dsp:sp modelId="{8B56BED4-05AF-4434-B4BE-0D866387A51C}">
      <dsp:nvSpPr>
        <dsp:cNvPr id="0" name=""/>
        <dsp:cNvSpPr/>
      </dsp:nvSpPr>
      <dsp:spPr>
        <a:xfrm rot="5400000">
          <a:off x="-25342" y="3054940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Offer Letter</a:t>
          </a:r>
          <a:endParaRPr lang="en-IN" sz="700" kern="1200" dirty="0"/>
        </a:p>
      </dsp:txBody>
      <dsp:txXfrm rot="-5400000">
        <a:off x="40545" y="3209630"/>
        <a:ext cx="441151" cy="131773"/>
      </dsp:txXfrm>
    </dsp:sp>
    <dsp:sp modelId="{C241DC8A-B205-4547-BDDA-00A61A522508}">
      <dsp:nvSpPr>
        <dsp:cNvPr id="0" name=""/>
        <dsp:cNvSpPr/>
      </dsp:nvSpPr>
      <dsp:spPr>
        <a:xfrm rot="5400000">
          <a:off x="3384048" y="195200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Offer Letter Creation and Approval by ZHR / RHR &amp; Acceptance by Candidate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BGV</a:t>
          </a:r>
          <a:endParaRPr lang="en-IN" sz="800" kern="1200" dirty="0"/>
        </a:p>
      </dsp:txBody>
      <dsp:txXfrm rot="-5400000">
        <a:off x="553618" y="3043810"/>
        <a:ext cx="6015082" cy="336042"/>
      </dsp:txXfrm>
    </dsp:sp>
    <dsp:sp modelId="{2E9BB5EC-5B8D-414F-90E0-571AE6250906}">
      <dsp:nvSpPr>
        <dsp:cNvPr id="0" name=""/>
        <dsp:cNvSpPr/>
      </dsp:nvSpPr>
      <dsp:spPr>
        <a:xfrm rot="5400000">
          <a:off x="-25342" y="3552347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Appointment Letter</a:t>
          </a:r>
          <a:endParaRPr lang="en-IN" sz="600" kern="1200" dirty="0"/>
        </a:p>
      </dsp:txBody>
      <dsp:txXfrm rot="-5400000">
        <a:off x="40545" y="3707037"/>
        <a:ext cx="441151" cy="131773"/>
      </dsp:txXfrm>
    </dsp:sp>
    <dsp:sp modelId="{168F310A-6B86-4A44-856C-DB1815AF6EAE}">
      <dsp:nvSpPr>
        <dsp:cNvPr id="0" name=""/>
        <dsp:cNvSpPr/>
      </dsp:nvSpPr>
      <dsp:spPr>
        <a:xfrm rot="5400000">
          <a:off x="3384048" y="701749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ppointment Letter Creation and Approval by ZHR / RHR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Review and Acceptance by Candidate</a:t>
          </a:r>
          <a:endParaRPr lang="en-IN" sz="800" kern="1200" dirty="0"/>
        </a:p>
      </dsp:txBody>
      <dsp:txXfrm rot="-5400000">
        <a:off x="553618" y="3550359"/>
        <a:ext cx="6015082" cy="3360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B4F4DF-CC93-4634-B413-E7C2EC051F40}">
      <dsp:nvSpPr>
        <dsp:cNvPr id="0" name=""/>
        <dsp:cNvSpPr/>
      </dsp:nvSpPr>
      <dsp:spPr>
        <a:xfrm rot="5400000">
          <a:off x="-25342" y="70501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Onboarding</a:t>
          </a:r>
          <a:endParaRPr lang="en-IN" sz="600" kern="1200" dirty="0"/>
        </a:p>
      </dsp:txBody>
      <dsp:txXfrm rot="-5400000">
        <a:off x="40545" y="225191"/>
        <a:ext cx="441151" cy="131773"/>
      </dsp:txXfrm>
    </dsp:sp>
    <dsp:sp modelId="{0C9FB1E9-8B01-4B29-8D21-2CC53D06ECAE}">
      <dsp:nvSpPr>
        <dsp:cNvPr id="0" name=""/>
        <dsp:cNvSpPr/>
      </dsp:nvSpPr>
      <dsp:spPr>
        <a:xfrm rot="5400000">
          <a:off x="3392653" y="-2780096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Statutory declaration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Employee Code creation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Secondary BGV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IN" sz="800" kern="1200" dirty="0"/>
        </a:p>
      </dsp:txBody>
      <dsp:txXfrm rot="-5400000">
        <a:off x="562223" y="68513"/>
        <a:ext cx="6015082" cy="336042"/>
      </dsp:txXfrm>
    </dsp:sp>
    <dsp:sp modelId="{28238B0B-B251-4D11-9FFC-861665409535}">
      <dsp:nvSpPr>
        <dsp:cNvPr id="0" name=""/>
        <dsp:cNvSpPr/>
      </dsp:nvSpPr>
      <dsp:spPr>
        <a:xfrm rot="5400000">
          <a:off x="-25342" y="567907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duction</a:t>
          </a:r>
          <a:endParaRPr lang="en-IN" sz="700" kern="1200" dirty="0"/>
        </a:p>
      </dsp:txBody>
      <dsp:txXfrm rot="-5400000">
        <a:off x="40545" y="722597"/>
        <a:ext cx="441151" cy="131773"/>
      </dsp:txXfrm>
    </dsp:sp>
    <dsp:sp modelId="{1C714012-CFD2-4D73-A7D4-8FE3E0BD3098}">
      <dsp:nvSpPr>
        <dsp:cNvPr id="0" name=""/>
        <dsp:cNvSpPr/>
      </dsp:nvSpPr>
      <dsp:spPr>
        <a:xfrm rot="5400000">
          <a:off x="3393214" y="-2300970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Induction scheduling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Tracking of completion</a:t>
          </a:r>
          <a:endParaRPr lang="en-IN" sz="800" kern="1200" dirty="0"/>
        </a:p>
      </dsp:txBody>
      <dsp:txXfrm rot="-5400000">
        <a:off x="562784" y="547639"/>
        <a:ext cx="6015082" cy="336042"/>
      </dsp:txXfrm>
    </dsp:sp>
    <dsp:sp modelId="{7AEB83A7-56D2-48C9-A5F0-5AD8A376326F}">
      <dsp:nvSpPr>
        <dsp:cNvPr id="0" name=""/>
        <dsp:cNvSpPr/>
      </dsp:nvSpPr>
      <dsp:spPr>
        <a:xfrm rot="5400000">
          <a:off x="-25342" y="1065314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robation</a:t>
          </a:r>
          <a:endParaRPr lang="en-IN" sz="700" kern="1200" dirty="0"/>
        </a:p>
      </dsp:txBody>
      <dsp:txXfrm rot="-5400000">
        <a:off x="40545" y="1220004"/>
        <a:ext cx="441151" cy="131773"/>
      </dsp:txXfrm>
    </dsp:sp>
    <dsp:sp modelId="{3010D677-24F5-4621-9843-2520CFAC7F45}">
      <dsp:nvSpPr>
        <dsp:cNvPr id="0" name=""/>
        <dsp:cNvSpPr/>
      </dsp:nvSpPr>
      <dsp:spPr>
        <a:xfrm rot="5400000">
          <a:off x="3393214" y="-1803564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onfirmation and Extension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PIP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Trigger to Exit Management</a:t>
          </a:r>
          <a:endParaRPr lang="en-IN" sz="800" kern="1200" dirty="0"/>
        </a:p>
      </dsp:txBody>
      <dsp:txXfrm rot="-5400000">
        <a:off x="562784" y="1045045"/>
        <a:ext cx="6015082" cy="336042"/>
      </dsp:txXfrm>
    </dsp:sp>
    <dsp:sp modelId="{20A9D781-A829-4B7A-880D-157B0327C36F}">
      <dsp:nvSpPr>
        <dsp:cNvPr id="0" name=""/>
        <dsp:cNvSpPr/>
      </dsp:nvSpPr>
      <dsp:spPr>
        <a:xfrm rot="5400000">
          <a:off x="-25342" y="1562720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600" kern="1200" dirty="0"/>
          </a:br>
          <a:r>
            <a:rPr lang="en-US" sz="600" kern="1200" dirty="0"/>
            <a:t>Letter Request</a:t>
          </a:r>
          <a:endParaRPr lang="en-IN" sz="600" kern="1200" dirty="0"/>
        </a:p>
      </dsp:txBody>
      <dsp:txXfrm rot="-5400000">
        <a:off x="40545" y="1717410"/>
        <a:ext cx="441151" cy="131773"/>
      </dsp:txXfrm>
    </dsp:sp>
    <dsp:sp modelId="{BDDF3BA5-BC7F-4BD8-926D-56E367CAD9D1}">
      <dsp:nvSpPr>
        <dsp:cNvPr id="0" name=""/>
        <dsp:cNvSpPr/>
      </dsp:nvSpPr>
      <dsp:spPr>
        <a:xfrm rot="5400000">
          <a:off x="3393116" y="-1306067"/>
          <a:ext cx="372596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Employee initiated letter requests –Visa, Bonafide, Education / home / Vehicle Loan letter request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vailability of letters for download in web &amp; Mobile channels post approval</a:t>
          </a:r>
          <a:endParaRPr lang="en-IN" sz="800" kern="1200" dirty="0"/>
        </a:p>
      </dsp:txBody>
      <dsp:txXfrm rot="-5400000">
        <a:off x="562784" y="1542454"/>
        <a:ext cx="6015072" cy="336218"/>
      </dsp:txXfrm>
    </dsp:sp>
    <dsp:sp modelId="{4C434DF2-1203-46EC-A736-8F3625C6A502}">
      <dsp:nvSpPr>
        <dsp:cNvPr id="0" name=""/>
        <dsp:cNvSpPr/>
      </dsp:nvSpPr>
      <dsp:spPr>
        <a:xfrm rot="5400000">
          <a:off x="-25342" y="2060127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Transfers</a:t>
          </a:r>
          <a:endParaRPr lang="en-IN" sz="600" kern="1200" dirty="0"/>
        </a:p>
      </dsp:txBody>
      <dsp:txXfrm rot="-5400000">
        <a:off x="40545" y="2214817"/>
        <a:ext cx="441151" cy="131773"/>
      </dsp:txXfrm>
    </dsp:sp>
    <dsp:sp modelId="{5A5DA578-2228-485B-BADB-7E2C184A7120}">
      <dsp:nvSpPr>
        <dsp:cNvPr id="0" name=""/>
        <dsp:cNvSpPr/>
      </dsp:nvSpPr>
      <dsp:spPr>
        <a:xfrm rot="5400000">
          <a:off x="3393214" y="-808750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Employee – inter and intra company transfer 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Short term deputation</a:t>
          </a:r>
          <a:endParaRPr lang="en-IN" sz="800" kern="1200" dirty="0"/>
        </a:p>
      </dsp:txBody>
      <dsp:txXfrm rot="-5400000">
        <a:off x="562784" y="2039859"/>
        <a:ext cx="6015082" cy="336042"/>
      </dsp:txXfrm>
    </dsp:sp>
    <dsp:sp modelId="{F6B5B8A1-61B2-45BB-987C-B24085693519}">
      <dsp:nvSpPr>
        <dsp:cNvPr id="0" name=""/>
        <dsp:cNvSpPr/>
      </dsp:nvSpPr>
      <dsp:spPr>
        <a:xfrm rot="5400000">
          <a:off x="-25342" y="2557534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600" kern="1200" dirty="0"/>
          </a:br>
          <a:r>
            <a:rPr lang="en-US" sz="600" kern="1200" dirty="0"/>
            <a:t>Profile Change</a:t>
          </a:r>
          <a:endParaRPr lang="en-IN" sz="600" kern="1200" dirty="0"/>
        </a:p>
      </dsp:txBody>
      <dsp:txXfrm rot="-5400000">
        <a:off x="40545" y="2712224"/>
        <a:ext cx="441151" cy="131773"/>
      </dsp:txXfrm>
    </dsp:sp>
    <dsp:sp modelId="{640509E3-A0DB-4CD5-AE92-82BAC327E927}">
      <dsp:nvSpPr>
        <dsp:cNvPr id="0" name=""/>
        <dsp:cNvSpPr/>
      </dsp:nvSpPr>
      <dsp:spPr>
        <a:xfrm rot="5400000">
          <a:off x="3393214" y="-311344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Employee profile attributes update</a:t>
          </a:r>
          <a:endParaRPr lang="en-IN" sz="800" kern="1200" dirty="0"/>
        </a:p>
      </dsp:txBody>
      <dsp:txXfrm rot="-5400000">
        <a:off x="562784" y="2537265"/>
        <a:ext cx="6015082" cy="336042"/>
      </dsp:txXfrm>
    </dsp:sp>
    <dsp:sp modelId="{8B56BED4-05AF-4434-B4BE-0D866387A51C}">
      <dsp:nvSpPr>
        <dsp:cNvPr id="0" name=""/>
        <dsp:cNvSpPr/>
      </dsp:nvSpPr>
      <dsp:spPr>
        <a:xfrm rot="5400000">
          <a:off x="-25342" y="3054940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500" kern="1200" dirty="0"/>
          </a:br>
          <a:r>
            <a:rPr lang="en-US" sz="500" kern="1200" dirty="0"/>
            <a:t>Exit Management</a:t>
          </a:r>
          <a:endParaRPr lang="en-IN" sz="500" kern="1200" dirty="0"/>
        </a:p>
      </dsp:txBody>
      <dsp:txXfrm rot="-5400000">
        <a:off x="40545" y="3209630"/>
        <a:ext cx="441151" cy="131773"/>
      </dsp:txXfrm>
    </dsp:sp>
    <dsp:sp modelId="{C241DC8A-B205-4547-BDDA-00A61A522508}">
      <dsp:nvSpPr>
        <dsp:cNvPr id="0" name=""/>
        <dsp:cNvSpPr/>
      </dsp:nvSpPr>
      <dsp:spPr>
        <a:xfrm rot="5400000">
          <a:off x="3393214" y="176912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signation Proces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No Due Clearance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lieving &amp; experience letter</a:t>
          </a:r>
          <a:endParaRPr lang="en-IN" sz="800" kern="1200" dirty="0"/>
        </a:p>
      </dsp:txBody>
      <dsp:txXfrm rot="-5400000">
        <a:off x="562784" y="3025522"/>
        <a:ext cx="6015082" cy="336042"/>
      </dsp:txXfrm>
    </dsp:sp>
    <dsp:sp modelId="{2E9BB5EC-5B8D-414F-90E0-571AE6250906}">
      <dsp:nvSpPr>
        <dsp:cNvPr id="0" name=""/>
        <dsp:cNvSpPr/>
      </dsp:nvSpPr>
      <dsp:spPr>
        <a:xfrm rot="5400000">
          <a:off x="-25342" y="3552347"/>
          <a:ext cx="572924" cy="44115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Insurance Management</a:t>
          </a:r>
          <a:endParaRPr lang="en-IN" sz="600" kern="1200" dirty="0"/>
        </a:p>
      </dsp:txBody>
      <dsp:txXfrm rot="-5400000">
        <a:off x="40545" y="3707037"/>
        <a:ext cx="441151" cy="131773"/>
      </dsp:txXfrm>
    </dsp:sp>
    <dsp:sp modelId="{168F310A-6B86-4A44-856C-DB1815AF6EAE}">
      <dsp:nvSpPr>
        <dsp:cNvPr id="0" name=""/>
        <dsp:cNvSpPr/>
      </dsp:nvSpPr>
      <dsp:spPr>
        <a:xfrm rot="5400000">
          <a:off x="3397766" y="706323"/>
          <a:ext cx="372400" cy="603326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omprehensive tracking of insurance coverage 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Insurance Top-up</a:t>
          </a:r>
          <a:endParaRPr lang="en-IN" sz="800" kern="1200" dirty="0"/>
        </a:p>
      </dsp:txBody>
      <dsp:txXfrm rot="-5400000">
        <a:off x="567336" y="3554933"/>
        <a:ext cx="6015082" cy="3360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895196-D622-405A-AFB0-47B3B64F1DCD}">
      <dsp:nvSpPr>
        <dsp:cNvPr id="0" name=""/>
        <dsp:cNvSpPr/>
      </dsp:nvSpPr>
      <dsp:spPr>
        <a:xfrm rot="5400000">
          <a:off x="-142" y="117546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b="1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0" kern="1200" dirty="0"/>
            <a:t>Attendance</a:t>
          </a:r>
          <a:r>
            <a:rPr lang="en-US" sz="700" b="1" kern="1200" dirty="0"/>
            <a:t> </a:t>
          </a:r>
          <a:r>
            <a:rPr lang="en-US" sz="700" b="0" kern="1200" dirty="0"/>
            <a:t>Punch-in</a:t>
          </a:r>
          <a:endParaRPr lang="en-IN" sz="700" b="0" kern="1200" dirty="0"/>
        </a:p>
      </dsp:txBody>
      <dsp:txXfrm rot="-5400000">
        <a:off x="74759" y="293397"/>
        <a:ext cx="501501" cy="149800"/>
      </dsp:txXfrm>
    </dsp:sp>
    <dsp:sp modelId="{0D5DCD5C-A4E6-4597-8493-EF6F3ABDF319}">
      <dsp:nvSpPr>
        <dsp:cNvPr id="0" name=""/>
        <dsp:cNvSpPr/>
      </dsp:nvSpPr>
      <dsp:spPr>
        <a:xfrm rot="5400000">
          <a:off x="3612120" y="-2949705"/>
          <a:ext cx="423568" cy="64248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ttendance Punch in through web / mobile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Daily Punch-in Mandated</a:t>
          </a:r>
          <a:endParaRPr lang="en-IN" sz="800" kern="1200" dirty="0"/>
        </a:p>
      </dsp:txBody>
      <dsp:txXfrm rot="-5400000">
        <a:off x="611472" y="71620"/>
        <a:ext cx="6404188" cy="382214"/>
      </dsp:txXfrm>
    </dsp:sp>
    <dsp:sp modelId="{2EAF7D0D-2BB3-4633-B850-5CD551168350}">
      <dsp:nvSpPr>
        <dsp:cNvPr id="0" name=""/>
        <dsp:cNvSpPr/>
      </dsp:nvSpPr>
      <dsp:spPr>
        <a:xfrm rot="5400000">
          <a:off x="-142" y="682616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b="0" kern="1200" dirty="0"/>
            <a:t>Regularization</a:t>
          </a:r>
          <a:endParaRPr lang="en-IN" sz="600" b="0" kern="1200" dirty="0"/>
        </a:p>
      </dsp:txBody>
      <dsp:txXfrm rot="-5400000">
        <a:off x="74759" y="858467"/>
        <a:ext cx="501501" cy="149800"/>
      </dsp:txXfrm>
    </dsp:sp>
    <dsp:sp modelId="{7E1528D9-BDB8-4405-A008-7162A26A2389}">
      <dsp:nvSpPr>
        <dsp:cNvPr id="0" name=""/>
        <dsp:cNvSpPr/>
      </dsp:nvSpPr>
      <dsp:spPr>
        <a:xfrm rot="5400000">
          <a:off x="3621392" y="-2348737"/>
          <a:ext cx="423345" cy="635846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quest Creation by employee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pproval by Line Manager</a:t>
          </a:r>
          <a:endParaRPr lang="en-IN" sz="800" kern="1200" dirty="0"/>
        </a:p>
      </dsp:txBody>
      <dsp:txXfrm rot="-5400000">
        <a:off x="653830" y="639491"/>
        <a:ext cx="6337803" cy="382013"/>
      </dsp:txXfrm>
    </dsp:sp>
    <dsp:sp modelId="{C9B4F4DF-CC93-4634-B413-E7C2EC051F40}">
      <dsp:nvSpPr>
        <dsp:cNvPr id="0" name=""/>
        <dsp:cNvSpPr/>
      </dsp:nvSpPr>
      <dsp:spPr>
        <a:xfrm rot="5400000">
          <a:off x="-142" y="1247686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 dirty="0"/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Leave Request by employee</a:t>
          </a:r>
          <a:endParaRPr lang="en-IN" sz="600" kern="1200" dirty="0"/>
        </a:p>
      </dsp:txBody>
      <dsp:txXfrm rot="-5400000">
        <a:off x="74759" y="1423537"/>
        <a:ext cx="501501" cy="149800"/>
      </dsp:txXfrm>
    </dsp:sp>
    <dsp:sp modelId="{0C9FB1E9-8B01-4B29-8D21-2CC53D06ECAE}">
      <dsp:nvSpPr>
        <dsp:cNvPr id="0" name=""/>
        <dsp:cNvSpPr/>
      </dsp:nvSpPr>
      <dsp:spPr>
        <a:xfrm rot="5400000">
          <a:off x="3612232" y="-1821650"/>
          <a:ext cx="423345" cy="64248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reation by Employee &amp; Withdrawal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pproval by Line Manager</a:t>
          </a:r>
          <a:endParaRPr lang="en-IN" sz="800" kern="1200" dirty="0"/>
        </a:p>
      </dsp:txBody>
      <dsp:txXfrm rot="-5400000">
        <a:off x="611472" y="1199776"/>
        <a:ext cx="6404199" cy="382013"/>
      </dsp:txXfrm>
    </dsp:sp>
    <dsp:sp modelId="{28238B0B-B251-4D11-9FFC-861665409535}">
      <dsp:nvSpPr>
        <dsp:cNvPr id="0" name=""/>
        <dsp:cNvSpPr/>
      </dsp:nvSpPr>
      <dsp:spPr>
        <a:xfrm rot="5400000">
          <a:off x="-142" y="1812755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 dirty="0"/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Leave Request by CHR</a:t>
          </a:r>
          <a:endParaRPr lang="en-IN" sz="600" kern="1200" dirty="0"/>
        </a:p>
      </dsp:txBody>
      <dsp:txXfrm rot="-5400000">
        <a:off x="74759" y="1988606"/>
        <a:ext cx="501501" cy="149800"/>
      </dsp:txXfrm>
    </dsp:sp>
    <dsp:sp modelId="{1C714012-CFD2-4D73-A7D4-8FE3E0BD3098}">
      <dsp:nvSpPr>
        <dsp:cNvPr id="0" name=""/>
        <dsp:cNvSpPr/>
      </dsp:nvSpPr>
      <dsp:spPr>
        <a:xfrm rot="5400000">
          <a:off x="3604217" y="-1223162"/>
          <a:ext cx="423345" cy="63636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reation of Paternity, Special Leaves, Advance PL and LOP </a:t>
          </a:r>
          <a:endParaRPr lang="en-IN" sz="800" kern="1200" dirty="0"/>
        </a:p>
      </dsp:txBody>
      <dsp:txXfrm rot="-5400000">
        <a:off x="634089" y="1767632"/>
        <a:ext cx="6342936" cy="382013"/>
      </dsp:txXfrm>
    </dsp:sp>
    <dsp:sp modelId="{E7BF9EBA-ED03-49AD-8137-EF867D2B11F3}">
      <dsp:nvSpPr>
        <dsp:cNvPr id="0" name=""/>
        <dsp:cNvSpPr/>
      </dsp:nvSpPr>
      <dsp:spPr>
        <a:xfrm rot="5400000">
          <a:off x="-142" y="2377825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 dirty="0"/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 dirty="0"/>
            <a:t>Leave Quota Recalc</a:t>
          </a:r>
          <a:endParaRPr lang="en-IN" sz="600" kern="1200" dirty="0"/>
        </a:p>
      </dsp:txBody>
      <dsp:txXfrm rot="-5400000">
        <a:off x="74759" y="2553676"/>
        <a:ext cx="501501" cy="149800"/>
      </dsp:txXfrm>
    </dsp:sp>
    <dsp:sp modelId="{331694F3-556F-4300-8E77-BC617D4584F8}">
      <dsp:nvSpPr>
        <dsp:cNvPr id="0" name=""/>
        <dsp:cNvSpPr/>
      </dsp:nvSpPr>
      <dsp:spPr>
        <a:xfrm rot="5400000">
          <a:off x="3629505" y="-665088"/>
          <a:ext cx="423345" cy="639031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Leave Quota Recalculation on account of Transfers – Location and Company Transfer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Leave Quota Recalculation on Promotion – Grade Changes</a:t>
          </a:r>
          <a:endParaRPr lang="en-IN" sz="800" kern="1200" dirty="0"/>
        </a:p>
      </dsp:txBody>
      <dsp:txXfrm rot="-5400000">
        <a:off x="646019" y="2339064"/>
        <a:ext cx="6369652" cy="382013"/>
      </dsp:txXfrm>
    </dsp:sp>
    <dsp:sp modelId="{5E8D2D60-2C8B-4B7E-A3D8-08633C3FFB7F}">
      <dsp:nvSpPr>
        <dsp:cNvPr id="0" name=""/>
        <dsp:cNvSpPr/>
      </dsp:nvSpPr>
      <dsp:spPr>
        <a:xfrm rot="5400000">
          <a:off x="-142" y="2942895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OM - Auto Approval</a:t>
          </a:r>
          <a:endParaRPr lang="en-IN" sz="700" kern="1200" dirty="0"/>
        </a:p>
      </dsp:txBody>
      <dsp:txXfrm rot="-5400000">
        <a:off x="74759" y="3118746"/>
        <a:ext cx="501501" cy="149800"/>
      </dsp:txXfrm>
    </dsp:sp>
    <dsp:sp modelId="{CC0B9AD5-600A-4C22-9926-D053FAE77342}">
      <dsp:nvSpPr>
        <dsp:cNvPr id="0" name=""/>
        <dsp:cNvSpPr/>
      </dsp:nvSpPr>
      <dsp:spPr>
        <a:xfrm rot="5400000">
          <a:off x="3620753" y="-83729"/>
          <a:ext cx="423345" cy="64078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Outstanding Regularization request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Outstanding Leave Requests</a:t>
          </a:r>
          <a:endParaRPr lang="en-IN" sz="800" kern="1200" dirty="0"/>
        </a:p>
      </dsp:txBody>
      <dsp:txXfrm rot="-5400000">
        <a:off x="628515" y="2929175"/>
        <a:ext cx="6387156" cy="382013"/>
      </dsp:txXfrm>
    </dsp:sp>
    <dsp:sp modelId="{29FB5C22-AEC3-4419-A3F1-C4A0A4471640}">
      <dsp:nvSpPr>
        <dsp:cNvPr id="0" name=""/>
        <dsp:cNvSpPr/>
      </dsp:nvSpPr>
      <dsp:spPr>
        <a:xfrm rot="5400000">
          <a:off x="-142" y="3469564"/>
          <a:ext cx="651301" cy="50150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mployee Action Trigger</a:t>
          </a:r>
          <a:endParaRPr lang="en-IN" sz="700" kern="1200" dirty="0"/>
        </a:p>
      </dsp:txBody>
      <dsp:txXfrm rot="-5400000">
        <a:off x="74759" y="3645415"/>
        <a:ext cx="501501" cy="149800"/>
      </dsp:txXfrm>
    </dsp:sp>
    <dsp:sp modelId="{21EFDA49-566A-4546-BAD6-F680591BC8CD}">
      <dsp:nvSpPr>
        <dsp:cNvPr id="0" name=""/>
        <dsp:cNvSpPr/>
      </dsp:nvSpPr>
      <dsp:spPr>
        <a:xfrm rot="5400000">
          <a:off x="3612180" y="489111"/>
          <a:ext cx="423345" cy="635175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3 days continuous absence notification trigger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bscondence Management Initiation</a:t>
          </a:r>
          <a:endParaRPr lang="en-IN" sz="800" kern="1200" dirty="0"/>
        </a:p>
      </dsp:txBody>
      <dsp:txXfrm rot="-5400000">
        <a:off x="647974" y="3473983"/>
        <a:ext cx="6331091" cy="38201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895196-D622-405A-AFB0-47B3B64F1DCD}">
      <dsp:nvSpPr>
        <dsp:cNvPr id="0" name=""/>
        <dsp:cNvSpPr/>
      </dsp:nvSpPr>
      <dsp:spPr>
        <a:xfrm rot="5400000">
          <a:off x="-62953" y="91697"/>
          <a:ext cx="759273" cy="584640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ar Purchase</a:t>
          </a:r>
          <a:endParaRPr lang="en-IN" sz="700" kern="1200" dirty="0"/>
        </a:p>
      </dsp:txBody>
      <dsp:txXfrm rot="-5400000">
        <a:off x="24364" y="296700"/>
        <a:ext cx="584640" cy="174633"/>
      </dsp:txXfrm>
    </dsp:sp>
    <dsp:sp modelId="{0D5DCD5C-A4E6-4597-8493-EF6F3ABDF319}">
      <dsp:nvSpPr>
        <dsp:cNvPr id="0" name=""/>
        <dsp:cNvSpPr/>
      </dsp:nvSpPr>
      <dsp:spPr>
        <a:xfrm rot="5400000">
          <a:off x="3545294" y="-2824966"/>
          <a:ext cx="493527" cy="621993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 Request creation by employee, capture - payment details, Insurance, Registration Detail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Asset Capitalization</a:t>
          </a:r>
          <a:endParaRPr lang="en-IN" sz="800" kern="1200" dirty="0"/>
        </a:p>
      </dsp:txBody>
      <dsp:txXfrm rot="-5400000">
        <a:off x="682090" y="62330"/>
        <a:ext cx="6195843" cy="445343"/>
      </dsp:txXfrm>
    </dsp:sp>
    <dsp:sp modelId="{2EAF7D0D-2BB3-4633-B850-5CD551168350}">
      <dsp:nvSpPr>
        <dsp:cNvPr id="0" name=""/>
        <dsp:cNvSpPr/>
      </dsp:nvSpPr>
      <dsp:spPr>
        <a:xfrm rot="5400000">
          <a:off x="-62953" y="750890"/>
          <a:ext cx="759273" cy="584640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ar Buyback</a:t>
          </a:r>
          <a:endParaRPr lang="en-IN" sz="700" kern="1200" dirty="0"/>
        </a:p>
      </dsp:txBody>
      <dsp:txXfrm rot="-5400000">
        <a:off x="24364" y="955893"/>
        <a:ext cx="584640" cy="174633"/>
      </dsp:txXfrm>
    </dsp:sp>
    <dsp:sp modelId="{7E1528D9-BDB8-4405-A008-7162A26A2389}">
      <dsp:nvSpPr>
        <dsp:cNvPr id="0" name=""/>
        <dsp:cNvSpPr/>
      </dsp:nvSpPr>
      <dsp:spPr>
        <a:xfrm rot="5400000">
          <a:off x="3545294" y="-2165773"/>
          <a:ext cx="493527" cy="621993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quest Creation by employee and Capture – payment detail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Initiation of asset retirement and issue NOC</a:t>
          </a:r>
          <a:endParaRPr lang="en-IN" sz="800" kern="1200" dirty="0"/>
        </a:p>
      </dsp:txBody>
      <dsp:txXfrm rot="-5400000">
        <a:off x="682090" y="721523"/>
        <a:ext cx="6195843" cy="445343"/>
      </dsp:txXfrm>
    </dsp:sp>
    <dsp:sp modelId="{C9B4F4DF-CC93-4634-B413-E7C2EC051F40}">
      <dsp:nvSpPr>
        <dsp:cNvPr id="0" name=""/>
        <dsp:cNvSpPr/>
      </dsp:nvSpPr>
      <dsp:spPr>
        <a:xfrm rot="5400000">
          <a:off x="-62953" y="1410083"/>
          <a:ext cx="759273" cy="584640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Buyback Calculator</a:t>
          </a:r>
          <a:endParaRPr lang="en-IN" sz="700" kern="1200" dirty="0"/>
        </a:p>
      </dsp:txBody>
      <dsp:txXfrm rot="-5400000">
        <a:off x="24364" y="1615086"/>
        <a:ext cx="584640" cy="174633"/>
      </dsp:txXfrm>
    </dsp:sp>
    <dsp:sp modelId="{0C9FB1E9-8B01-4B29-8D21-2CC53D06ECAE}">
      <dsp:nvSpPr>
        <dsp:cNvPr id="0" name=""/>
        <dsp:cNvSpPr/>
      </dsp:nvSpPr>
      <dsp:spPr>
        <a:xfrm rot="5400000">
          <a:off x="3545164" y="-1519982"/>
          <a:ext cx="493787" cy="6219935"/>
        </a:xfrm>
        <a:prstGeom prst="round2SameRect">
          <a:avLst/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Simulate car buyback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Simulate mobile buyback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Perquisite tax simulation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sp:txBody>
      <dsp:txXfrm rot="-5400000">
        <a:off x="682091" y="1367196"/>
        <a:ext cx="6195830" cy="445577"/>
      </dsp:txXfrm>
    </dsp:sp>
    <dsp:sp modelId="{C3E514FF-9B69-491C-AE8C-D50DEBC9E159}">
      <dsp:nvSpPr>
        <dsp:cNvPr id="0" name=""/>
        <dsp:cNvSpPr/>
      </dsp:nvSpPr>
      <dsp:spPr>
        <a:xfrm rot="5400000">
          <a:off x="-62953" y="2069276"/>
          <a:ext cx="759273" cy="584640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Mobile Purchase</a:t>
          </a:r>
          <a:endParaRPr lang="en-IN" sz="700" kern="1200" dirty="0"/>
        </a:p>
      </dsp:txBody>
      <dsp:txXfrm rot="-5400000">
        <a:off x="24364" y="2274279"/>
        <a:ext cx="584640" cy="174633"/>
      </dsp:txXfrm>
    </dsp:sp>
    <dsp:sp modelId="{EA529F6D-7E4C-425D-A049-4682C5AA528D}">
      <dsp:nvSpPr>
        <dsp:cNvPr id="0" name=""/>
        <dsp:cNvSpPr/>
      </dsp:nvSpPr>
      <dsp:spPr>
        <a:xfrm rot="5400000">
          <a:off x="3551219" y="-841463"/>
          <a:ext cx="493527" cy="6208085"/>
        </a:xfrm>
        <a:prstGeom prst="round2SameRect">
          <a:avLst/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Record </a:t>
          </a: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keeping</a:t>
          </a:r>
          <a:r>
            <a:rPr lang="en-US" sz="800" kern="1200" dirty="0">
              <a:latin typeface="+mn-lt"/>
            </a:rPr>
            <a:t> of employee mobile purchase for business purpose</a:t>
          </a:r>
          <a:endParaRPr lang="en-IN" sz="800" kern="1200" dirty="0">
            <a:latin typeface="+mn-lt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Asset capitalization</a:t>
          </a:r>
          <a:endParaRPr lang="en-IN" sz="800" kern="1200" dirty="0">
            <a:latin typeface="+mn-lt"/>
          </a:endParaRPr>
        </a:p>
      </dsp:txBody>
      <dsp:txXfrm rot="-5400000">
        <a:off x="693940" y="2039908"/>
        <a:ext cx="6183993" cy="445343"/>
      </dsp:txXfrm>
    </dsp:sp>
    <dsp:sp modelId="{3B105B92-ECF1-4B68-86E1-B6CE5086D2B8}">
      <dsp:nvSpPr>
        <dsp:cNvPr id="0" name=""/>
        <dsp:cNvSpPr/>
      </dsp:nvSpPr>
      <dsp:spPr>
        <a:xfrm rot="5400000">
          <a:off x="-62953" y="2728468"/>
          <a:ext cx="759273" cy="584640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Mobile Buyback</a:t>
          </a:r>
          <a:endParaRPr lang="en-IN" sz="800" kern="1200" dirty="0"/>
        </a:p>
      </dsp:txBody>
      <dsp:txXfrm rot="-5400000">
        <a:off x="24364" y="2933471"/>
        <a:ext cx="584640" cy="174633"/>
      </dsp:txXfrm>
    </dsp:sp>
    <dsp:sp modelId="{984D69EF-E39D-4E35-B46E-B793E9B4EA67}">
      <dsp:nvSpPr>
        <dsp:cNvPr id="0" name=""/>
        <dsp:cNvSpPr/>
      </dsp:nvSpPr>
      <dsp:spPr>
        <a:xfrm rot="5400000">
          <a:off x="3546477" y="-163658"/>
          <a:ext cx="493527" cy="620369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Request Creation by employee and Capture – payment details</a:t>
          </a:r>
          <a:endParaRPr lang="en-IN" sz="800" kern="120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Initiation of asset retirement</a:t>
          </a:r>
          <a:endParaRPr lang="en-IN" sz="800" kern="1200" dirty="0"/>
        </a:p>
      </dsp:txBody>
      <dsp:txXfrm rot="-5400000">
        <a:off x="691396" y="2715515"/>
        <a:ext cx="6179598" cy="445343"/>
      </dsp:txXfrm>
    </dsp:sp>
    <dsp:sp modelId="{A8002792-6263-4E9E-AEFB-C1309A48B61F}">
      <dsp:nvSpPr>
        <dsp:cNvPr id="0" name=""/>
        <dsp:cNvSpPr/>
      </dsp:nvSpPr>
      <dsp:spPr>
        <a:xfrm rot="5400000">
          <a:off x="-62953" y="3387661"/>
          <a:ext cx="759273" cy="584640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700" kern="1200" dirty="0"/>
          </a:br>
          <a:r>
            <a:rPr lang="en-US" sz="700" kern="1200" dirty="0"/>
            <a:t>Expense Management</a:t>
          </a:r>
          <a:endParaRPr lang="en-IN" sz="700" kern="1200" dirty="0"/>
        </a:p>
      </dsp:txBody>
      <dsp:txXfrm rot="-5400000">
        <a:off x="24364" y="3592664"/>
        <a:ext cx="584640" cy="174633"/>
      </dsp:txXfrm>
    </dsp:sp>
    <dsp:sp modelId="{4D18DC2D-B6FD-44B8-B721-3DAB5A436122}">
      <dsp:nvSpPr>
        <dsp:cNvPr id="0" name=""/>
        <dsp:cNvSpPr/>
      </dsp:nvSpPr>
      <dsp:spPr>
        <a:xfrm rot="5400000">
          <a:off x="3550937" y="474923"/>
          <a:ext cx="493527" cy="61992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cord keeping for Fuel, Maintenance and Major repairs, Tyre &amp; Battery Replacement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arry Forward of maintenance amount for a period of 4 years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Carry Forward of major repairs provisioned amount for a block period of 2 years</a:t>
          </a:r>
          <a:endParaRPr lang="en-IN" sz="800" kern="1200" dirty="0"/>
        </a:p>
      </dsp:txBody>
      <dsp:txXfrm rot="-5400000">
        <a:off x="698086" y="3351866"/>
        <a:ext cx="6175138" cy="4453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895196-D622-405A-AFB0-47B3B64F1DCD}">
      <dsp:nvSpPr>
        <dsp:cNvPr id="0" name=""/>
        <dsp:cNvSpPr/>
      </dsp:nvSpPr>
      <dsp:spPr>
        <a:xfrm rot="5400000">
          <a:off x="-64311" y="64311"/>
          <a:ext cx="768206" cy="639582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t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Tax Declaration</a:t>
          </a:r>
          <a:endParaRPr lang="en-IN" sz="700" kern="1200" dirty="0"/>
        </a:p>
      </dsp:txBody>
      <dsp:txXfrm rot="-5400000">
        <a:off x="1" y="319790"/>
        <a:ext cx="639582" cy="128624"/>
      </dsp:txXfrm>
    </dsp:sp>
    <dsp:sp modelId="{0D5DCD5C-A4E6-4597-8493-EF6F3ABDF319}">
      <dsp:nvSpPr>
        <dsp:cNvPr id="0" name=""/>
        <dsp:cNvSpPr/>
      </dsp:nvSpPr>
      <dsp:spPr>
        <a:xfrm rot="5400000">
          <a:off x="3637759" y="-2941449"/>
          <a:ext cx="499334" cy="638993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Tax Regime Selection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Investment declaration</a:t>
          </a:r>
          <a:endParaRPr lang="en-IN" sz="800" kern="1200" dirty="0"/>
        </a:p>
      </dsp:txBody>
      <dsp:txXfrm rot="-5400000">
        <a:off x="692461" y="28224"/>
        <a:ext cx="6365557" cy="450584"/>
      </dsp:txXfrm>
    </dsp:sp>
    <dsp:sp modelId="{2EAF7D0D-2BB3-4633-B850-5CD551168350}">
      <dsp:nvSpPr>
        <dsp:cNvPr id="0" name=""/>
        <dsp:cNvSpPr/>
      </dsp:nvSpPr>
      <dsp:spPr>
        <a:xfrm rot="5400000">
          <a:off x="-75124" y="760450"/>
          <a:ext cx="768206" cy="59151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Inputs</a:t>
          </a:r>
          <a:endParaRPr lang="en-IN" sz="700" kern="1200" dirty="0"/>
        </a:p>
      </dsp:txBody>
      <dsp:txXfrm rot="-5400000">
        <a:off x="13220" y="967865"/>
        <a:ext cx="591518" cy="176688"/>
      </dsp:txXfrm>
    </dsp:sp>
    <dsp:sp modelId="{7E1528D9-BDB8-4405-A008-7162A26A2389}">
      <dsp:nvSpPr>
        <dsp:cNvPr id="0" name=""/>
        <dsp:cNvSpPr/>
      </dsp:nvSpPr>
      <dsp:spPr>
        <a:xfrm rot="5400000">
          <a:off x="3609670" y="-2273192"/>
          <a:ext cx="499334" cy="638993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Variable pay (incentives) upload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Loan Management</a:t>
          </a:r>
          <a:endParaRPr lang="en-IN" sz="800" kern="1200" dirty="0"/>
        </a:p>
      </dsp:txBody>
      <dsp:txXfrm rot="-5400000">
        <a:off x="664372" y="696481"/>
        <a:ext cx="6365557" cy="450584"/>
      </dsp:txXfrm>
    </dsp:sp>
    <dsp:sp modelId="{C9B4F4DF-CC93-4634-B413-E7C2EC051F40}">
      <dsp:nvSpPr>
        <dsp:cNvPr id="0" name=""/>
        <dsp:cNvSpPr/>
      </dsp:nvSpPr>
      <dsp:spPr>
        <a:xfrm rot="5400000">
          <a:off x="-75124" y="1428706"/>
          <a:ext cx="768206" cy="59151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ayroll Processing</a:t>
          </a:r>
          <a:endParaRPr lang="en-IN" sz="700" kern="1200" dirty="0"/>
        </a:p>
      </dsp:txBody>
      <dsp:txXfrm rot="-5400000">
        <a:off x="13220" y="1636121"/>
        <a:ext cx="591518" cy="176688"/>
      </dsp:txXfrm>
    </dsp:sp>
    <dsp:sp modelId="{0C9FB1E9-8B01-4B29-8D21-2CC53D06ECAE}">
      <dsp:nvSpPr>
        <dsp:cNvPr id="0" name=""/>
        <dsp:cNvSpPr/>
      </dsp:nvSpPr>
      <dsp:spPr>
        <a:xfrm rot="5400000">
          <a:off x="3637628" y="-1604805"/>
          <a:ext cx="499596" cy="6389932"/>
        </a:xfrm>
        <a:prstGeom prst="round2SameRect">
          <a:avLst/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Payroll execution and pay register generation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H2H transfer, salary slip publishing post payout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/>
              <a:ea typeface="+mn-ea"/>
              <a:cs typeface="+mn-cs"/>
            </a:rPr>
            <a:t>JV file generation</a:t>
          </a:r>
          <a:endParaRPr lang="en-IN" sz="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/>
            <a:ea typeface="+mn-ea"/>
            <a:cs typeface="+mn-cs"/>
          </a:endParaRPr>
        </a:p>
      </dsp:txBody>
      <dsp:txXfrm rot="-5400000">
        <a:off x="692460" y="1364751"/>
        <a:ext cx="6365544" cy="450820"/>
      </dsp:txXfrm>
    </dsp:sp>
    <dsp:sp modelId="{3B105B92-ECF1-4B68-86E1-B6CE5086D2B8}">
      <dsp:nvSpPr>
        <dsp:cNvPr id="0" name=""/>
        <dsp:cNvSpPr/>
      </dsp:nvSpPr>
      <dsp:spPr>
        <a:xfrm rot="5400000">
          <a:off x="-75124" y="2096963"/>
          <a:ext cx="768206" cy="59151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MIS</a:t>
          </a:r>
          <a:endParaRPr lang="en-IN" sz="800" kern="1200" dirty="0"/>
        </a:p>
      </dsp:txBody>
      <dsp:txXfrm rot="-5400000">
        <a:off x="13220" y="2304378"/>
        <a:ext cx="591518" cy="176688"/>
      </dsp:txXfrm>
    </dsp:sp>
    <dsp:sp modelId="{984D69EF-E39D-4E35-B46E-B793E9B4EA67}">
      <dsp:nvSpPr>
        <dsp:cNvPr id="0" name=""/>
        <dsp:cNvSpPr/>
      </dsp:nvSpPr>
      <dsp:spPr>
        <a:xfrm rot="5400000">
          <a:off x="3620862" y="-919794"/>
          <a:ext cx="499334" cy="63561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ports for validation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Reports for statutory purpose</a:t>
          </a:r>
          <a:endParaRPr lang="en-IN" sz="800" kern="1200" dirty="0"/>
        </a:p>
      </dsp:txBody>
      <dsp:txXfrm rot="-5400000">
        <a:off x="692449" y="2032994"/>
        <a:ext cx="6331787" cy="450584"/>
      </dsp:txXfrm>
    </dsp:sp>
    <dsp:sp modelId="{C3E514FF-9B69-491C-AE8C-D50DEBC9E159}">
      <dsp:nvSpPr>
        <dsp:cNvPr id="0" name=""/>
        <dsp:cNvSpPr/>
      </dsp:nvSpPr>
      <dsp:spPr>
        <a:xfrm rot="5400000">
          <a:off x="-75124" y="2765219"/>
          <a:ext cx="768206" cy="59151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ESS</a:t>
          </a:r>
          <a:endParaRPr lang="en-IN" sz="800" kern="1200" dirty="0"/>
        </a:p>
      </dsp:txBody>
      <dsp:txXfrm rot="-5400000">
        <a:off x="13220" y="2972634"/>
        <a:ext cx="591518" cy="176688"/>
      </dsp:txXfrm>
    </dsp:sp>
    <dsp:sp modelId="{EA529F6D-7E4C-425D-A049-4682C5AA528D}">
      <dsp:nvSpPr>
        <dsp:cNvPr id="0" name=""/>
        <dsp:cNvSpPr/>
      </dsp:nvSpPr>
      <dsp:spPr>
        <a:xfrm rot="5400000">
          <a:off x="3626797" y="-233671"/>
          <a:ext cx="499334" cy="6411857"/>
        </a:xfrm>
        <a:prstGeom prst="round2SameRect">
          <a:avLst/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9525" cap="flat" cmpd="sng" algn="ctr">
          <a:solidFill>
            <a:srgbClr val="003F88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Salary Slips</a:t>
          </a:r>
          <a:endParaRPr lang="en-IN" sz="800" kern="1200" dirty="0">
            <a:latin typeface="+mn-lt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Form 16</a:t>
          </a:r>
          <a:endParaRPr lang="en-IN" sz="800" kern="1200" dirty="0">
            <a:latin typeface="+mn-lt"/>
          </a:endParaRP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>
              <a:latin typeface="+mn-lt"/>
            </a:rPr>
            <a:t>Investment Declaration and Proof submission</a:t>
          </a:r>
          <a:endParaRPr lang="en-IN" sz="800" kern="1200" dirty="0">
            <a:latin typeface="+mn-lt"/>
          </a:endParaRPr>
        </a:p>
      </dsp:txBody>
      <dsp:txXfrm rot="-5400000">
        <a:off x="670536" y="2746965"/>
        <a:ext cx="6387482" cy="450584"/>
      </dsp:txXfrm>
    </dsp:sp>
    <dsp:sp modelId="{A8002792-6263-4E9E-AEFB-C1309A48B61F}">
      <dsp:nvSpPr>
        <dsp:cNvPr id="0" name=""/>
        <dsp:cNvSpPr/>
      </dsp:nvSpPr>
      <dsp:spPr>
        <a:xfrm rot="5400000">
          <a:off x="-75124" y="3433476"/>
          <a:ext cx="768206" cy="59151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it Management</a:t>
          </a:r>
          <a:endParaRPr lang="en-IN" sz="700" kern="1200" dirty="0"/>
        </a:p>
      </dsp:txBody>
      <dsp:txXfrm rot="-5400000">
        <a:off x="13220" y="3640891"/>
        <a:ext cx="591518" cy="176688"/>
      </dsp:txXfrm>
    </dsp:sp>
    <dsp:sp modelId="{4D18DC2D-B6FD-44B8-B721-3DAB5A436122}">
      <dsp:nvSpPr>
        <dsp:cNvPr id="0" name=""/>
        <dsp:cNvSpPr/>
      </dsp:nvSpPr>
      <dsp:spPr>
        <a:xfrm rot="5400000">
          <a:off x="3611045" y="436358"/>
          <a:ext cx="499334" cy="63717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080" rIns="5080" bIns="5080" numCol="1" spcCol="1270" anchor="ctr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Full and Final settlement processing</a:t>
          </a:r>
          <a:endParaRPr lang="en-IN" sz="8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 dirty="0"/>
            <a:t>Group Transfers and F&amp;F for statutory purpose </a:t>
          </a:r>
          <a:endParaRPr lang="en-IN" sz="800" kern="1200" dirty="0"/>
        </a:p>
      </dsp:txBody>
      <dsp:txXfrm rot="-5400000">
        <a:off x="674844" y="3396935"/>
        <a:ext cx="6347363" cy="4505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AA1C3F-C10E-47CA-9A51-51F7A1C8C52F}" type="datetimeFigureOut">
              <a:rPr lang="en-IN" smtClean="0"/>
              <a:t>08/07/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89F64F-1101-4FFA-B298-FB4C9379FA7E}" type="slidenum">
              <a:rPr lang="en-IN" smtClean="0"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89F64F-1101-4FFA-B298-FB4C9379FA7E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2372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89F64F-1101-4FFA-B298-FB4C9379FA7E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4706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89F64F-1101-4FFA-B298-FB4C9379FA7E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1469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89F64F-1101-4FFA-B298-FB4C9379FA7E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5105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89F64F-1101-4FFA-B298-FB4C9379FA7E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1308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4686301"/>
            <a:ext cx="9144000" cy="51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5" rIns="68571" bIns="342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201716"/>
            <a:ext cx="9144000" cy="598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0" y="57151"/>
            <a:ext cx="9144000" cy="1250156"/>
            <a:chOff x="0" y="76200"/>
            <a:chExt cx="9143999" cy="1667388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76200"/>
              <a:ext cx="9143999" cy="476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7315199" y="533541"/>
              <a:ext cx="1143000" cy="1524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800"/>
            </a:p>
          </p:txBody>
        </p:sp>
        <p:pic>
          <p:nvPicPr>
            <p:cNvPr id="9" name="Picture 3" descr="G:\Brand ppt\Logo PNG\Rupee Unit - colour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507472" y="304800"/>
              <a:ext cx="722128" cy="114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4" descr="G:\Brand ppt\Logo PNG\Chola Logo Unit - colour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38464" y="762000"/>
              <a:ext cx="2633336" cy="981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000252"/>
            <a:ext cx="7772400" cy="1102519"/>
          </a:xfrm>
        </p:spPr>
        <p:txBody>
          <a:bodyPr>
            <a:normAutofit/>
          </a:bodyPr>
          <a:lstStyle>
            <a:lvl1pPr>
              <a:defRPr sz="21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2" y="3143250"/>
            <a:ext cx="6400801" cy="685800"/>
          </a:xfrm>
        </p:spPr>
        <p:txBody>
          <a:bodyPr>
            <a:normAutofit/>
          </a:bodyPr>
          <a:lstStyle>
            <a:lvl1pPr marL="0" marR="0" indent="0" algn="ctr" defTabSz="6857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8749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20005" y="4887516"/>
            <a:ext cx="761999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A1452B6-EE25-4555-B7A0-568EFB4322B2}" type="slidenum">
              <a:rPr lang="en-IN" smtClean="0"/>
              <a:t>‹#›</a:t>
            </a:fld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77395C2-EBA2-E4FB-6C0F-31798A983E63}"/>
              </a:ext>
            </a:extLst>
          </p:cNvPr>
          <p:cNvGrpSpPr/>
          <p:nvPr/>
        </p:nvGrpSpPr>
        <p:grpSpPr>
          <a:xfrm>
            <a:off x="5688634" y="368732"/>
            <a:ext cx="3347863" cy="4774768"/>
            <a:chOff x="5688633" y="464394"/>
            <a:chExt cx="3347863" cy="425684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E8CAF7F-F89F-8369-18BE-5C0F1900EAEB}"/>
                </a:ext>
              </a:extLst>
            </p:cNvPr>
            <p:cNvSpPr/>
            <p:nvPr/>
          </p:nvSpPr>
          <p:spPr>
            <a:xfrm>
              <a:off x="5688633" y="464394"/>
              <a:ext cx="3347863" cy="425684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/>
            </a:p>
          </p:txBody>
        </p:sp>
        <p:sp>
          <p:nvSpPr>
            <p:cNvPr id="5" name="Pentagon 9">
              <a:extLst>
                <a:ext uri="{FF2B5EF4-FFF2-40B4-BE49-F238E27FC236}">
                  <a16:creationId xmlns:a16="http://schemas.microsoft.com/office/drawing/2014/main" id="{1CD70EAE-D722-1E98-50AC-CE58C244EF60}"/>
                </a:ext>
              </a:extLst>
            </p:cNvPr>
            <p:cNvSpPr/>
            <p:nvPr/>
          </p:nvSpPr>
          <p:spPr>
            <a:xfrm>
              <a:off x="5688633" y="464394"/>
              <a:ext cx="571037" cy="4256849"/>
            </a:xfrm>
            <a:prstGeom prst="homePlat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/>
            </a:p>
          </p:txBody>
        </p:sp>
      </p:grpSp>
      <p:sp>
        <p:nvSpPr>
          <p:cNvPr id="14" name="Title 13">
            <a:extLst>
              <a:ext uri="{FF2B5EF4-FFF2-40B4-BE49-F238E27FC236}">
                <a16:creationId xmlns:a16="http://schemas.microsoft.com/office/drawing/2014/main" id="{9E5C4110-213A-D22C-C499-E3AAEA8B4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864" y="514353"/>
            <a:ext cx="5490540" cy="372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5523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5F7223-969E-3A2A-4E8E-BA8BCC5BFFC2}"/>
              </a:ext>
            </a:extLst>
          </p:cNvPr>
          <p:cNvSpPr/>
          <p:nvPr/>
        </p:nvSpPr>
        <p:spPr>
          <a:xfrm>
            <a:off x="179512" y="482562"/>
            <a:ext cx="2664296" cy="4146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565D8-7390-02EF-E9B5-A005972D9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514352"/>
            <a:ext cx="2664296" cy="19609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574796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571500"/>
            <a:ext cx="3008313" cy="1314450"/>
          </a:xfrm>
        </p:spPr>
        <p:txBody>
          <a:bodyPr>
            <a:normAutofit/>
          </a:bodyPr>
          <a:lstStyle>
            <a:lvl1pPr algn="ctr">
              <a:defRPr sz="1800" b="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2000250"/>
            <a:ext cx="3008313" cy="25943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892" indent="0">
              <a:buNone/>
              <a:defRPr sz="900"/>
            </a:lvl2pPr>
            <a:lvl3pPr marL="685783" indent="0">
              <a:buNone/>
              <a:defRPr sz="800"/>
            </a:lvl3pPr>
            <a:lvl4pPr marL="1028675" indent="0">
              <a:buNone/>
              <a:defRPr sz="700"/>
            </a:lvl4pPr>
            <a:lvl5pPr marL="1371566" indent="0">
              <a:buNone/>
              <a:defRPr sz="700"/>
            </a:lvl5pPr>
            <a:lvl6pPr marL="1714457" indent="0">
              <a:buNone/>
              <a:defRPr sz="700"/>
            </a:lvl6pPr>
            <a:lvl7pPr marL="2057348" indent="0">
              <a:buNone/>
              <a:defRPr sz="700"/>
            </a:lvl7pPr>
            <a:lvl8pPr marL="2400240" indent="0">
              <a:buNone/>
              <a:defRPr sz="700"/>
            </a:lvl8pPr>
            <a:lvl9pPr marL="2743132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3657604" y="571503"/>
            <a:ext cx="5029199" cy="4023122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>
          <a:xfrm>
            <a:off x="1371601" y="4743450"/>
            <a:ext cx="1219200" cy="273844"/>
          </a:xfrm>
          <a:prstGeom prst="rect">
            <a:avLst/>
          </a:prstGeom>
        </p:spPr>
        <p:txBody>
          <a:bodyPr lIns="68571" tIns="34285" rIns="68571" bIns="34285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44105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3429001"/>
            <a:ext cx="8305800" cy="596504"/>
          </a:xfrm>
        </p:spPr>
        <p:txBody>
          <a:bodyPr anchor="b"/>
          <a:lstStyle>
            <a:lvl1pPr algn="l">
              <a:defRPr sz="15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0999" y="571500"/>
            <a:ext cx="8305800" cy="27432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0999" y="4025506"/>
            <a:ext cx="83058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92" indent="0">
              <a:buNone/>
              <a:defRPr sz="900"/>
            </a:lvl2pPr>
            <a:lvl3pPr marL="685783" indent="0">
              <a:buNone/>
              <a:defRPr sz="800"/>
            </a:lvl3pPr>
            <a:lvl4pPr marL="1028675" indent="0">
              <a:buNone/>
              <a:defRPr sz="700"/>
            </a:lvl4pPr>
            <a:lvl5pPr marL="1371566" indent="0">
              <a:buNone/>
              <a:defRPr sz="700"/>
            </a:lvl5pPr>
            <a:lvl6pPr marL="1714457" indent="0">
              <a:buNone/>
              <a:defRPr sz="700"/>
            </a:lvl6pPr>
            <a:lvl7pPr marL="2057348" indent="0">
              <a:buNone/>
              <a:defRPr sz="700"/>
            </a:lvl7pPr>
            <a:lvl8pPr marL="2400240" indent="0">
              <a:buNone/>
              <a:defRPr sz="700"/>
            </a:lvl8pPr>
            <a:lvl9pPr marL="2743132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0206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479824"/>
            <a:ext cx="8229599" cy="663179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3" y="1257301"/>
            <a:ext cx="8229599" cy="3314700"/>
          </a:xfrm>
        </p:spPr>
        <p:txBody>
          <a:bodyPr vert="eaVert">
            <a:normAutofit/>
          </a:bodyPr>
          <a:lstStyle>
            <a:lvl1pPr>
              <a:defRPr sz="21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2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49010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001000" y="514350"/>
            <a:ext cx="838200" cy="4171950"/>
          </a:xfrm>
        </p:spPr>
        <p:txBody>
          <a:bodyPr vert="eaVert"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4350"/>
            <a:ext cx="7162800" cy="41719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0949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5" y="1200154"/>
            <a:ext cx="4038599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1200154"/>
            <a:ext cx="4038599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4208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/>
          <p:cNvSpPr txBox="1"/>
          <p:nvPr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IN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  <a:endParaRPr lang="en-US" sz="525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911 Slides for roadshow.pptx</a:t>
            </a:r>
          </a:p>
        </p:txBody>
      </p:sp>
    </p:spTree>
    <p:extLst>
      <p:ext uri="{BB962C8B-B14F-4D97-AF65-F5344CB8AC3E}">
        <p14:creationId xmlns:p14="http://schemas.microsoft.com/office/powerpoint/2010/main" val="238334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3BEE9D1-EE36-430A-A8F8-F4430625C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13726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BFC69-6093-AA16-5789-AD5EB9622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962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400053"/>
            <a:ext cx="8229599" cy="663179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3" y="1371600"/>
            <a:ext cx="8229599" cy="325755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/>
            </a:lvl3pPr>
            <a:lvl4pPr>
              <a:defRPr sz="1500" baseline="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73136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BD13E-46FE-10F7-1DE5-E65655C48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977038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03DC92-7815-8ECE-76B8-4D3821A4B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87C6EB-3038-352E-2356-AF9916AC4212}"/>
              </a:ext>
            </a:extLst>
          </p:cNvPr>
          <p:cNvSpPr txBox="1"/>
          <p:nvPr/>
        </p:nvSpPr>
        <p:spPr>
          <a:xfrm>
            <a:off x="2297497" y="4914902"/>
            <a:ext cx="1170815" cy="207739"/>
          </a:xfrm>
          <a:prstGeom prst="rect">
            <a:avLst/>
          </a:prstGeom>
          <a:noFill/>
        </p:spPr>
        <p:txBody>
          <a:bodyPr wrap="none" lIns="68571" tIns="34285" rIns="68571" bIns="34285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rivate &amp; Confidential</a:t>
            </a:r>
            <a:endParaRPr lang="en-IN" sz="90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F899DD-3B44-8E12-04FD-3835CE14BE5E}"/>
              </a:ext>
            </a:extLst>
          </p:cNvPr>
          <p:cNvSpPr txBox="1"/>
          <p:nvPr/>
        </p:nvSpPr>
        <p:spPr>
          <a:xfrm>
            <a:off x="5567213" y="4914902"/>
            <a:ext cx="1444929" cy="207739"/>
          </a:xfrm>
          <a:prstGeom prst="rect">
            <a:avLst/>
          </a:prstGeom>
          <a:noFill/>
        </p:spPr>
        <p:txBody>
          <a:bodyPr wrap="none" lIns="68571" tIns="34285" rIns="68571" bIns="34285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For internal Circulation only</a:t>
            </a:r>
            <a:endParaRPr lang="en-IN" sz="90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F1EDE1-BE2C-E73F-E283-FBE376DE2A70}"/>
              </a:ext>
            </a:extLst>
          </p:cNvPr>
          <p:cNvCxnSpPr/>
          <p:nvPr/>
        </p:nvCxnSpPr>
        <p:spPr>
          <a:xfrm>
            <a:off x="0" y="5142310"/>
            <a:ext cx="9144000" cy="1190"/>
          </a:xfrm>
          <a:prstGeom prst="line">
            <a:avLst/>
          </a:prstGeom>
          <a:ln w="76200">
            <a:solidFill>
              <a:srgbClr val="ED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561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Vertical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065" imgH="12065" progId="TCLayout.ActiveDocument.1">
                  <p:embed/>
                </p:oleObj>
              </mc:Choice>
              <mc:Fallback>
                <p:oleObj name="think-cell Slide" r:id="rId3" imgW="12065" imgH="1206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51521" y="483518"/>
            <a:ext cx="8568951" cy="397032"/>
          </a:xfrm>
          <a:prstGeom prst="rect">
            <a:avLst/>
          </a:prstGeom>
        </p:spPr>
        <p:txBody>
          <a:bodyPr vert="horz" wrap="square" lIns="64008" tIns="36576" rIns="64008" bIns="36576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21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2" descr="C:\Users\Administrator\Desktop\PPt\ppt\Header2.gif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"/>
            <a:ext cx="914400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/>
        </p:nvCxnSpPr>
        <p:spPr>
          <a:xfrm>
            <a:off x="0" y="5142310"/>
            <a:ext cx="9144000" cy="1190"/>
          </a:xfrm>
          <a:prstGeom prst="line">
            <a:avLst/>
          </a:prstGeom>
          <a:ln w="76200">
            <a:solidFill>
              <a:srgbClr val="ED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1521" y="1305102"/>
            <a:ext cx="8568951" cy="3324048"/>
          </a:xfrm>
        </p:spPr>
        <p:txBody>
          <a:bodyPr vert="vert" lIns="64008" tIns="36576" rIns="64008" bIns="36576"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686300"/>
            <a:ext cx="9144000" cy="51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2000" y="2000251"/>
            <a:ext cx="7772400" cy="1102519"/>
          </a:xfrm>
        </p:spPr>
        <p:txBody>
          <a:bodyPr>
            <a:normAutofit/>
          </a:bodyPr>
          <a:lstStyle>
            <a:lvl1pPr>
              <a:defRPr sz="21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Verdana Font 2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143250"/>
            <a:ext cx="6400800" cy="685800"/>
          </a:xfrm>
        </p:spPr>
        <p:txBody>
          <a:bodyPr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epartment/Function/Subject</a:t>
            </a:r>
          </a:p>
          <a:p>
            <a:r>
              <a:rPr lang="en-US"/>
              <a:t>Calibri Font 24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201668"/>
            <a:ext cx="9144000" cy="598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2" name="Group 11"/>
          <p:cNvGrpSpPr/>
          <p:nvPr/>
        </p:nvGrpSpPr>
        <p:grpSpPr>
          <a:xfrm>
            <a:off x="1" y="57150"/>
            <a:ext cx="9143999" cy="1250541"/>
            <a:chOff x="0" y="76200"/>
            <a:chExt cx="9143999" cy="1667388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76200"/>
              <a:ext cx="9143999" cy="476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0" name="Rectangle 9"/>
            <p:cNvSpPr/>
            <p:nvPr/>
          </p:nvSpPr>
          <p:spPr>
            <a:xfrm>
              <a:off x="7315200" y="533400"/>
              <a:ext cx="11430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350"/>
            </a:p>
          </p:txBody>
        </p:sp>
        <p:pic>
          <p:nvPicPr>
            <p:cNvPr id="2052" name="Picture 4" descr="G:\Brand ppt\Logo PNG\Chola Logo Unit - colour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8464" y="762000"/>
              <a:ext cx="2633336" cy="98158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4444953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00050"/>
            <a:ext cx="8229600" cy="663179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Verdana Font 28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371600"/>
            <a:ext cx="8229600" cy="325755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/>
            </a:lvl3pPr>
            <a:lvl4pPr>
              <a:defRPr sz="1500" baseline="0"/>
            </a:lvl4pPr>
            <a:lvl5pPr>
              <a:defRPr sz="1050"/>
            </a:lvl5pPr>
          </a:lstStyle>
          <a:p>
            <a:pPr lvl="0"/>
            <a:r>
              <a:rPr lang="en-US"/>
              <a:t>Calibri Font 24</a:t>
            </a:r>
          </a:p>
          <a:p>
            <a:pPr lvl="1"/>
            <a:r>
              <a:rPr lang="en-US"/>
              <a:t>Calibri Font 20</a:t>
            </a:r>
          </a:p>
          <a:p>
            <a:pPr lvl="2"/>
            <a:r>
              <a:rPr lang="en-US"/>
              <a:t>Calibri Font 16</a:t>
            </a:r>
          </a:p>
          <a:p>
            <a:pPr lvl="3"/>
            <a:r>
              <a:rPr lang="en-US"/>
              <a:t>Calibri  Font 20</a:t>
            </a:r>
          </a:p>
          <a:p>
            <a:pPr lvl="4"/>
            <a:r>
              <a:rPr lang="en-US"/>
              <a:t>Calibri  Font 14</a:t>
            </a:r>
          </a:p>
        </p:txBody>
      </p:sp>
    </p:spTree>
    <p:extLst>
      <p:ext uri="{BB962C8B-B14F-4D97-AF65-F5344CB8AC3E}">
        <p14:creationId xmlns:p14="http://schemas.microsoft.com/office/powerpoint/2010/main" val="10443602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2057401"/>
            <a:ext cx="7772400" cy="1021556"/>
          </a:xfrm>
        </p:spPr>
        <p:txBody>
          <a:bodyPr anchor="ctr">
            <a:normAutofit/>
          </a:bodyPr>
          <a:lstStyle>
            <a:lvl1pPr algn="ctr">
              <a:defRPr sz="2100" b="1" cap="all"/>
            </a:lvl1pPr>
          </a:lstStyle>
          <a:p>
            <a:r>
              <a:rPr lang="en-US"/>
              <a:t>Section header</a:t>
            </a:r>
            <a:br>
              <a:rPr lang="en-US"/>
            </a:br>
            <a:r>
              <a:rPr lang="en-US"/>
              <a:t>Verdana Font 28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4686300"/>
            <a:ext cx="9144000" cy="51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201668"/>
            <a:ext cx="9144000" cy="598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9143999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9"/>
          <p:cNvSpPr/>
          <p:nvPr/>
        </p:nvSpPr>
        <p:spPr>
          <a:xfrm>
            <a:off x="7315200" y="342900"/>
            <a:ext cx="1143000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pic>
        <p:nvPicPr>
          <p:cNvPr id="15" name="Picture 4" descr="G:\Brand ppt\Logo PNG\Chola Logo Unit - colou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8464" y="514350"/>
            <a:ext cx="2633336" cy="736191"/>
          </a:xfrm>
          <a:prstGeom prst="rect">
            <a:avLst/>
          </a:prstGeom>
          <a:noFill/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2369" y="175361"/>
            <a:ext cx="757238" cy="728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118514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628651"/>
            <a:ext cx="4038600" cy="3771900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 baseline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Verdana Font 24</a:t>
            </a:r>
          </a:p>
          <a:p>
            <a:pPr lvl="1"/>
            <a:r>
              <a:rPr lang="en-US"/>
              <a:t>Calibri Font 20</a:t>
            </a:r>
          </a:p>
          <a:p>
            <a:pPr lvl="2"/>
            <a:r>
              <a:rPr lang="en-US"/>
              <a:t>Calibri Font 18</a:t>
            </a:r>
          </a:p>
          <a:p>
            <a:pPr lvl="3"/>
            <a:r>
              <a:rPr lang="en-US"/>
              <a:t>Calibri Font 16</a:t>
            </a:r>
          </a:p>
          <a:p>
            <a:pPr lvl="4"/>
            <a:r>
              <a:rPr lang="en-US"/>
              <a:t>Calibri Font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628651"/>
            <a:ext cx="4038600" cy="3771900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Verdana Font 24</a:t>
            </a:r>
          </a:p>
          <a:p>
            <a:pPr lvl="1"/>
            <a:r>
              <a:rPr lang="en-US"/>
              <a:t>Calibri Font 20</a:t>
            </a:r>
          </a:p>
          <a:p>
            <a:pPr lvl="2"/>
            <a:r>
              <a:rPr lang="en-US"/>
              <a:t>Calibri Font 18</a:t>
            </a:r>
          </a:p>
          <a:p>
            <a:pPr lvl="3"/>
            <a:r>
              <a:rPr lang="en-US"/>
              <a:t>Calibri Font 16</a:t>
            </a:r>
          </a:p>
          <a:p>
            <a:pPr lvl="4"/>
            <a:r>
              <a:rPr lang="en-US"/>
              <a:t>Calibri Font 16</a:t>
            </a:r>
          </a:p>
        </p:txBody>
      </p:sp>
    </p:spTree>
    <p:extLst>
      <p:ext uri="{BB962C8B-B14F-4D97-AF65-F5344CB8AC3E}">
        <p14:creationId xmlns:p14="http://schemas.microsoft.com/office/powerpoint/2010/main" val="28005785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571500"/>
            <a:ext cx="4040188" cy="479822"/>
          </a:xfrm>
        </p:spPr>
        <p:txBody>
          <a:bodyPr anchor="b">
            <a:normAutofit/>
          </a:bodyPr>
          <a:lstStyle>
            <a:lvl1pPr marL="0" indent="0" algn="ctr">
              <a:buNone/>
              <a:defRPr sz="2100" b="0" i="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Verdana Font 2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571500"/>
            <a:ext cx="4041775" cy="479822"/>
          </a:xfrm>
        </p:spPr>
        <p:txBody>
          <a:bodyPr anchor="b">
            <a:normAutofit/>
          </a:bodyPr>
          <a:lstStyle>
            <a:lvl1pPr marL="0" indent="0" algn="ctr">
              <a:buNone/>
              <a:defRPr sz="2100" b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Verdana Font 28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 baseline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Verdana Font 24</a:t>
            </a:r>
          </a:p>
          <a:p>
            <a:pPr lvl="1"/>
            <a:r>
              <a:rPr lang="en-US"/>
              <a:t>Calibri Font 20</a:t>
            </a:r>
          </a:p>
          <a:p>
            <a:pPr lvl="2"/>
            <a:r>
              <a:rPr lang="en-US"/>
              <a:t>Calibri Font 18</a:t>
            </a:r>
          </a:p>
          <a:p>
            <a:pPr lvl="3"/>
            <a:r>
              <a:rPr lang="en-US"/>
              <a:t>Calibri Font 16</a:t>
            </a:r>
          </a:p>
          <a:p>
            <a:pPr lvl="4"/>
            <a:r>
              <a:rPr lang="en-US"/>
              <a:t>Calibri Font 16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Verdana Font 24</a:t>
            </a:r>
          </a:p>
          <a:p>
            <a:pPr lvl="1"/>
            <a:r>
              <a:rPr lang="en-US"/>
              <a:t>Calibri Font 20</a:t>
            </a:r>
          </a:p>
          <a:p>
            <a:pPr lvl="2"/>
            <a:r>
              <a:rPr lang="en-US"/>
              <a:t>Calibri Font 18</a:t>
            </a:r>
          </a:p>
          <a:p>
            <a:pPr lvl="3"/>
            <a:r>
              <a:rPr lang="en-US"/>
              <a:t>Calibri Font 16</a:t>
            </a:r>
          </a:p>
          <a:p>
            <a:pPr lvl="4"/>
            <a:r>
              <a:rPr lang="en-US"/>
              <a:t>Calibri Font 16</a:t>
            </a:r>
          </a:p>
        </p:txBody>
      </p:sp>
    </p:spTree>
    <p:extLst>
      <p:ext uri="{BB962C8B-B14F-4D97-AF65-F5344CB8AC3E}">
        <p14:creationId xmlns:p14="http://schemas.microsoft.com/office/powerpoint/2010/main" val="24733027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229600" cy="663179"/>
          </a:xfrm>
        </p:spPr>
        <p:txBody>
          <a:bodyPr>
            <a:normAutofit/>
          </a:bodyPr>
          <a:lstStyle>
            <a:lvl1pPr>
              <a:defRPr sz="2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Verdana Font 28</a:t>
            </a:r>
          </a:p>
        </p:txBody>
      </p:sp>
    </p:spTree>
    <p:extLst>
      <p:ext uri="{BB962C8B-B14F-4D97-AF65-F5344CB8AC3E}">
        <p14:creationId xmlns:p14="http://schemas.microsoft.com/office/powerpoint/2010/main" val="18696784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2903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C5AFC45-FD9B-2F3E-40ED-EF05D4820548}"/>
              </a:ext>
            </a:extLst>
          </p:cNvPr>
          <p:cNvSpPr/>
          <p:nvPr/>
        </p:nvSpPr>
        <p:spPr>
          <a:xfrm>
            <a:off x="179513" y="555526"/>
            <a:ext cx="8784976" cy="3960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FB7B26-B183-6066-DA1E-C377D5797B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13" y="3957748"/>
            <a:ext cx="4265188" cy="369549"/>
          </a:xfr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C586DE4-ACB8-F691-1208-5E7FE58A499E}"/>
              </a:ext>
            </a:extLst>
          </p:cNvPr>
          <p:cNvCxnSpPr>
            <a:cxnSpLocks/>
          </p:cNvCxnSpPr>
          <p:nvPr/>
        </p:nvCxnSpPr>
        <p:spPr>
          <a:xfrm>
            <a:off x="230346" y="3762302"/>
            <a:ext cx="868331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4194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571500"/>
            <a:ext cx="3008313" cy="1314450"/>
          </a:xfrm>
        </p:spPr>
        <p:txBody>
          <a:bodyPr anchor="ctr">
            <a:normAutofit/>
          </a:bodyPr>
          <a:lstStyle>
            <a:lvl1pPr algn="ctr">
              <a:defRPr sz="1800" b="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Verdana Font 24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57201" y="2000251"/>
            <a:ext cx="3008313" cy="259437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alibri font 16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657600" y="571501"/>
            <a:ext cx="5029200" cy="4023122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Verdana Font 24</a:t>
            </a:r>
          </a:p>
          <a:p>
            <a:pPr lvl="1"/>
            <a:r>
              <a:rPr lang="en-US"/>
              <a:t>Calibri Font 20</a:t>
            </a:r>
          </a:p>
          <a:p>
            <a:pPr lvl="2"/>
            <a:r>
              <a:rPr lang="en-US"/>
              <a:t>Calibri Font 18</a:t>
            </a:r>
          </a:p>
          <a:p>
            <a:pPr lvl="3"/>
            <a:r>
              <a:rPr lang="en-US"/>
              <a:t>Calibri Font 16</a:t>
            </a:r>
          </a:p>
          <a:p>
            <a:pPr lvl="4"/>
            <a:r>
              <a:rPr lang="en-US"/>
              <a:t>Calibri Font 16</a:t>
            </a:r>
          </a:p>
        </p:txBody>
      </p:sp>
    </p:spTree>
    <p:extLst>
      <p:ext uri="{BB962C8B-B14F-4D97-AF65-F5344CB8AC3E}">
        <p14:creationId xmlns:p14="http://schemas.microsoft.com/office/powerpoint/2010/main" val="8831532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0"/>
            <a:ext cx="8305800" cy="59650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1000" y="571500"/>
            <a:ext cx="8305800" cy="27432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00" y="4025503"/>
            <a:ext cx="83058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95625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79821"/>
            <a:ext cx="8229600" cy="663179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Verdana Font 28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457200" y="1257300"/>
            <a:ext cx="8229600" cy="3314700"/>
          </a:xfrm>
        </p:spPr>
        <p:txBody>
          <a:bodyPr vert="eaVert">
            <a:normAutofit/>
          </a:bodyPr>
          <a:lstStyle>
            <a:lvl1pPr>
              <a:defRPr sz="21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200" baseline="0"/>
            </a:lvl5pPr>
          </a:lstStyle>
          <a:p>
            <a:pPr lvl="0"/>
            <a:r>
              <a:rPr lang="en-US"/>
              <a:t>Verdana Font 28</a:t>
            </a:r>
          </a:p>
          <a:p>
            <a:pPr lvl="1"/>
            <a:r>
              <a:rPr lang="en-US"/>
              <a:t>Calibri Font 24</a:t>
            </a:r>
          </a:p>
          <a:p>
            <a:pPr lvl="2"/>
            <a:r>
              <a:rPr lang="en-US"/>
              <a:t>Calibri 20</a:t>
            </a:r>
          </a:p>
          <a:p>
            <a:pPr lvl="3"/>
            <a:r>
              <a:rPr lang="en-US"/>
              <a:t>Calibri Font 18</a:t>
            </a:r>
          </a:p>
          <a:p>
            <a:pPr lvl="4"/>
            <a:r>
              <a:rPr lang="en-US"/>
              <a:t>Calibri Font 16</a:t>
            </a:r>
          </a:p>
        </p:txBody>
      </p:sp>
    </p:spTree>
    <p:extLst>
      <p:ext uri="{BB962C8B-B14F-4D97-AF65-F5344CB8AC3E}">
        <p14:creationId xmlns:p14="http://schemas.microsoft.com/office/powerpoint/2010/main" val="13107757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001000" y="514350"/>
            <a:ext cx="838200" cy="4171950"/>
          </a:xfrm>
        </p:spPr>
        <p:txBody>
          <a:bodyPr vert="eaVert">
            <a:normAutofit/>
          </a:bodyPr>
          <a:lstStyle>
            <a:lvl1pPr>
              <a:defRPr sz="2100"/>
            </a:lvl1pPr>
          </a:lstStyle>
          <a:p>
            <a:r>
              <a:rPr lang="en-US"/>
              <a:t>Verdana 28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4350"/>
            <a:ext cx="7162800" cy="41719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20000" y="4887840"/>
            <a:ext cx="762000" cy="273844"/>
          </a:xfrm>
          <a:prstGeom prst="rect">
            <a:avLst/>
          </a:prstGeom>
        </p:spPr>
        <p:txBody>
          <a:bodyPr/>
          <a:lstStyle/>
          <a:p>
            <a:fld id="{81CBB38E-6166-448C-B42B-0D64D880F2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199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4686301"/>
            <a:ext cx="9144000" cy="514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5" rIns="68571" bIns="342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pic>
        <p:nvPicPr>
          <p:cNvPr id="4" name="Picture 3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201716"/>
            <a:ext cx="9144000" cy="598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0" y="1"/>
            <a:ext cx="9144000" cy="1250156"/>
            <a:chOff x="0" y="0"/>
            <a:chExt cx="9143999" cy="1667388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0"/>
              <a:ext cx="9143999" cy="476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6"/>
            <p:cNvSpPr/>
            <p:nvPr/>
          </p:nvSpPr>
          <p:spPr>
            <a:xfrm>
              <a:off x="7315199" y="457341"/>
              <a:ext cx="1143000" cy="1524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800"/>
            </a:p>
          </p:txBody>
        </p:sp>
        <p:pic>
          <p:nvPicPr>
            <p:cNvPr id="8" name="Picture 4" descr="G:\Brand ppt\Logo PNG\Chola Logo Unit - colour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8464" y="685800"/>
              <a:ext cx="2633336" cy="981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3" descr="G:\Brand ppt\Logo PNG\Rupee Unit - colour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507472" y="228600"/>
              <a:ext cx="722128" cy="114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2057401"/>
            <a:ext cx="7772400" cy="1021556"/>
          </a:xfrm>
        </p:spPr>
        <p:txBody>
          <a:bodyPr>
            <a:normAutofit/>
          </a:bodyPr>
          <a:lstStyle>
            <a:lvl1pPr algn="ctr">
              <a:defRPr sz="2100" b="1" cap="all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3813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5" y="628651"/>
            <a:ext cx="4038599" cy="3771900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 baseline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628651"/>
            <a:ext cx="4038599" cy="3771900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9064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571501"/>
            <a:ext cx="4040189" cy="479822"/>
          </a:xfrm>
        </p:spPr>
        <p:txBody>
          <a:bodyPr anchor="b">
            <a:normAutofit/>
          </a:bodyPr>
          <a:lstStyle>
            <a:lvl1pPr marL="0" indent="0" algn="ctr">
              <a:buNone/>
              <a:defRPr sz="2100" b="0" i="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571501"/>
            <a:ext cx="4041775" cy="479822"/>
          </a:xfrm>
        </p:spPr>
        <p:txBody>
          <a:bodyPr anchor="b">
            <a:normAutofit/>
          </a:bodyPr>
          <a:lstStyle>
            <a:lvl1pPr marL="0" indent="0" algn="ctr">
              <a:buNone/>
              <a:defRPr sz="2100" b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40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457205" y="1200154"/>
            <a:ext cx="4038599" cy="3394472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 baseline="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648203" y="1200154"/>
            <a:ext cx="4038599" cy="3394472"/>
          </a:xfrm>
        </p:spPr>
        <p:txBody>
          <a:bodyPr/>
          <a:lstStyle>
            <a:lvl1pP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0947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457204"/>
            <a:ext cx="8229599" cy="663179"/>
          </a:xfrm>
        </p:spPr>
        <p:txBody>
          <a:bodyPr>
            <a:normAutofit/>
          </a:bodyPr>
          <a:lstStyle>
            <a:lvl1pPr>
              <a:defRPr sz="2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6645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4742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77395C2-EBA2-E4FB-6C0F-31798A983E63}"/>
              </a:ext>
            </a:extLst>
          </p:cNvPr>
          <p:cNvGrpSpPr/>
          <p:nvPr/>
        </p:nvGrpSpPr>
        <p:grpSpPr>
          <a:xfrm>
            <a:off x="5688634" y="422258"/>
            <a:ext cx="3347863" cy="4298986"/>
            <a:chOff x="5688633" y="422257"/>
            <a:chExt cx="3347863" cy="42989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E8CAF7F-F89F-8369-18BE-5C0F1900EAEB}"/>
                </a:ext>
              </a:extLst>
            </p:cNvPr>
            <p:cNvSpPr/>
            <p:nvPr/>
          </p:nvSpPr>
          <p:spPr>
            <a:xfrm>
              <a:off x="5688633" y="464394"/>
              <a:ext cx="3347863" cy="425684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/>
            </a:p>
          </p:txBody>
        </p:sp>
        <p:sp>
          <p:nvSpPr>
            <p:cNvPr id="5" name="Pentagon 9">
              <a:extLst>
                <a:ext uri="{FF2B5EF4-FFF2-40B4-BE49-F238E27FC236}">
                  <a16:creationId xmlns:a16="http://schemas.microsoft.com/office/drawing/2014/main" id="{1CD70EAE-D722-1E98-50AC-CE58C244EF60}"/>
                </a:ext>
              </a:extLst>
            </p:cNvPr>
            <p:cNvSpPr/>
            <p:nvPr/>
          </p:nvSpPr>
          <p:spPr>
            <a:xfrm>
              <a:off x="5688633" y="422257"/>
              <a:ext cx="560321" cy="4298986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800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657208-226A-F003-7EBF-A2019342AD4A}"/>
              </a:ext>
            </a:extLst>
          </p:cNvPr>
          <p:cNvCxnSpPr/>
          <p:nvPr/>
        </p:nvCxnSpPr>
        <p:spPr>
          <a:xfrm flipH="1">
            <a:off x="3585217" y="1735830"/>
            <a:ext cx="2322188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77BBBF-9B80-932B-659F-CC0CBAECFB05}"/>
              </a:ext>
            </a:extLst>
          </p:cNvPr>
          <p:cNvCxnSpPr/>
          <p:nvPr/>
        </p:nvCxnSpPr>
        <p:spPr>
          <a:xfrm flipH="1">
            <a:off x="416864" y="1735830"/>
            <a:ext cx="246888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9E5C4110-213A-D22C-C499-E3AAEA8B4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864" y="514353"/>
            <a:ext cx="5490540" cy="372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41095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9.gi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1.gi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0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3" y="514353"/>
            <a:ext cx="8229599" cy="663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71" tIns="34285" rIns="68571" bIns="342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Verdana Font – 32 bold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3" y="1371600"/>
            <a:ext cx="8229599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71" tIns="34285" rIns="68571" bIns="342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alibri Font 28</a:t>
            </a:r>
          </a:p>
          <a:p>
            <a:pPr lvl="1"/>
            <a:r>
              <a:rPr lang="en-US"/>
              <a:t>Calibri Font 24</a:t>
            </a:r>
          </a:p>
          <a:p>
            <a:pPr lvl="2"/>
            <a:r>
              <a:rPr lang="en-US"/>
              <a:t>Calibri Font  16 </a:t>
            </a:r>
          </a:p>
          <a:p>
            <a:pPr lvl="3"/>
            <a:r>
              <a:rPr lang="en-US"/>
              <a:t>Calibri Font 24</a:t>
            </a:r>
          </a:p>
          <a:p>
            <a:pPr lvl="4"/>
            <a:r>
              <a:rPr lang="en-US"/>
              <a:t>Calibri Font 16</a:t>
            </a:r>
          </a:p>
        </p:txBody>
      </p:sp>
      <p:sp>
        <p:nvSpPr>
          <p:cNvPr id="7" name="Text Placeholder 14"/>
          <p:cNvSpPr txBox="1">
            <a:spLocks/>
          </p:cNvSpPr>
          <p:nvPr/>
        </p:nvSpPr>
        <p:spPr>
          <a:xfrm>
            <a:off x="-1066799" y="1085853"/>
            <a:ext cx="914401" cy="273844"/>
          </a:xfrm>
          <a:prstGeom prst="rect">
            <a:avLst/>
          </a:prstGeom>
          <a:solidFill>
            <a:srgbClr val="ED1C24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237,28,36</a:t>
            </a:r>
          </a:p>
        </p:txBody>
      </p:sp>
      <p:sp>
        <p:nvSpPr>
          <p:cNvPr id="8" name="Text Placeholder 14"/>
          <p:cNvSpPr txBox="1">
            <a:spLocks/>
          </p:cNvSpPr>
          <p:nvPr/>
        </p:nvSpPr>
        <p:spPr>
          <a:xfrm>
            <a:off x="-1066799" y="1477566"/>
            <a:ext cx="914401" cy="273844"/>
          </a:xfrm>
          <a:prstGeom prst="rect">
            <a:avLst/>
          </a:prstGeom>
          <a:solidFill>
            <a:srgbClr val="003F88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0,63,136</a:t>
            </a:r>
          </a:p>
        </p:txBody>
      </p:sp>
      <p:sp>
        <p:nvSpPr>
          <p:cNvPr id="9" name="Text Placeholder 14"/>
          <p:cNvSpPr txBox="1">
            <a:spLocks/>
          </p:cNvSpPr>
          <p:nvPr/>
        </p:nvSpPr>
        <p:spPr>
          <a:xfrm>
            <a:off x="-1066799" y="1868092"/>
            <a:ext cx="914401" cy="275034"/>
          </a:xfrm>
          <a:prstGeom prst="rect">
            <a:avLst/>
          </a:prstGeom>
          <a:solidFill>
            <a:srgbClr val="9EA4B5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158, 164, 18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1677986" y="742951"/>
            <a:ext cx="1631262" cy="346239"/>
          </a:xfrm>
          <a:prstGeom prst="rect">
            <a:avLst/>
          </a:prstGeom>
          <a:noFill/>
        </p:spPr>
        <p:txBody>
          <a:bodyPr wrap="none" lIns="68571" tIns="34285" rIns="68571" bIns="3428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>
                <a:latin typeface="+mn-lt"/>
                <a:cs typeface="+mn-cs"/>
              </a:rPr>
              <a:t>Primary Colours</a:t>
            </a:r>
            <a:endParaRPr lang="en-IN" sz="1800">
              <a:latin typeface="+mn-lt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97497" y="4914902"/>
            <a:ext cx="1170815" cy="207739"/>
          </a:xfrm>
          <a:prstGeom prst="rect">
            <a:avLst/>
          </a:prstGeom>
          <a:noFill/>
        </p:spPr>
        <p:txBody>
          <a:bodyPr wrap="none" lIns="68571" tIns="34285" rIns="68571" bIns="34285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rivate &amp; Confidential</a:t>
            </a:r>
            <a:endParaRPr lang="en-IN" sz="90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67213" y="4914902"/>
            <a:ext cx="1444929" cy="207739"/>
          </a:xfrm>
          <a:prstGeom prst="rect">
            <a:avLst/>
          </a:prstGeom>
          <a:noFill/>
        </p:spPr>
        <p:txBody>
          <a:bodyPr wrap="none" lIns="68571" tIns="34285" rIns="68571" bIns="34285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For internal Circulation only</a:t>
            </a:r>
            <a:endParaRPr lang="en-IN" sz="90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3" name="Text Placeholder 14"/>
          <p:cNvSpPr txBox="1">
            <a:spLocks/>
          </p:cNvSpPr>
          <p:nvPr/>
        </p:nvSpPr>
        <p:spPr>
          <a:xfrm>
            <a:off x="9296402" y="857250"/>
            <a:ext cx="914401" cy="273844"/>
          </a:xfrm>
          <a:prstGeom prst="rect">
            <a:avLst/>
          </a:prstGeom>
          <a:solidFill>
            <a:srgbClr val="0081B8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0,129,184</a:t>
            </a:r>
          </a:p>
        </p:txBody>
      </p:sp>
      <p:sp>
        <p:nvSpPr>
          <p:cNvPr id="14" name="Text Placeholder 14"/>
          <p:cNvSpPr txBox="1">
            <a:spLocks/>
          </p:cNvSpPr>
          <p:nvPr/>
        </p:nvSpPr>
        <p:spPr>
          <a:xfrm>
            <a:off x="9296402" y="1248966"/>
            <a:ext cx="914401" cy="273844"/>
          </a:xfrm>
          <a:prstGeom prst="rect">
            <a:avLst/>
          </a:prstGeom>
          <a:solidFill>
            <a:srgbClr val="006EA8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0,110,168</a:t>
            </a:r>
          </a:p>
        </p:txBody>
      </p:sp>
      <p:sp>
        <p:nvSpPr>
          <p:cNvPr id="15" name="Text Placeholder 14"/>
          <p:cNvSpPr txBox="1">
            <a:spLocks/>
          </p:cNvSpPr>
          <p:nvPr/>
        </p:nvSpPr>
        <p:spPr>
          <a:xfrm>
            <a:off x="9296402" y="1639491"/>
            <a:ext cx="914401" cy="275034"/>
          </a:xfrm>
          <a:prstGeom prst="rect">
            <a:avLst/>
          </a:prstGeom>
          <a:solidFill>
            <a:srgbClr val="005D99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0,93,153</a:t>
            </a:r>
          </a:p>
        </p:txBody>
      </p:sp>
      <p:sp>
        <p:nvSpPr>
          <p:cNvPr id="16" name="Text Placeholder 14"/>
          <p:cNvSpPr txBox="1">
            <a:spLocks/>
          </p:cNvSpPr>
          <p:nvPr/>
        </p:nvSpPr>
        <p:spPr>
          <a:xfrm>
            <a:off x="9296402" y="2057400"/>
            <a:ext cx="914401" cy="273844"/>
          </a:xfrm>
          <a:prstGeom prst="rect">
            <a:avLst/>
          </a:prstGeom>
          <a:solidFill>
            <a:srgbClr val="003F88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0,63,136</a:t>
            </a:r>
          </a:p>
        </p:txBody>
      </p:sp>
      <p:sp>
        <p:nvSpPr>
          <p:cNvPr id="17" name="Text Placeholder 14"/>
          <p:cNvSpPr txBox="1">
            <a:spLocks/>
          </p:cNvSpPr>
          <p:nvPr/>
        </p:nvSpPr>
        <p:spPr>
          <a:xfrm>
            <a:off x="9296402" y="2449116"/>
            <a:ext cx="914401" cy="273844"/>
          </a:xfrm>
          <a:prstGeom prst="rect">
            <a:avLst/>
          </a:prstGeom>
          <a:solidFill>
            <a:srgbClr val="273E71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39,62,113</a:t>
            </a:r>
          </a:p>
        </p:txBody>
      </p:sp>
      <p:sp>
        <p:nvSpPr>
          <p:cNvPr id="18" name="Text Placeholder 14"/>
          <p:cNvSpPr txBox="1">
            <a:spLocks/>
          </p:cNvSpPr>
          <p:nvPr/>
        </p:nvSpPr>
        <p:spPr>
          <a:xfrm>
            <a:off x="9296402" y="2839642"/>
            <a:ext cx="914401" cy="275034"/>
          </a:xfrm>
          <a:prstGeom prst="rect">
            <a:avLst/>
          </a:prstGeom>
          <a:solidFill>
            <a:srgbClr val="25335D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37,51,93</a:t>
            </a:r>
          </a:p>
        </p:txBody>
      </p:sp>
      <p:sp>
        <p:nvSpPr>
          <p:cNvPr id="19" name="Text Placeholder 14"/>
          <p:cNvSpPr txBox="1">
            <a:spLocks/>
          </p:cNvSpPr>
          <p:nvPr/>
        </p:nvSpPr>
        <p:spPr>
          <a:xfrm>
            <a:off x="9296402" y="3257550"/>
            <a:ext cx="914401" cy="273844"/>
          </a:xfrm>
          <a:prstGeom prst="rect">
            <a:avLst/>
          </a:prstGeom>
          <a:solidFill>
            <a:srgbClr val="222745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34,39,69</a:t>
            </a:r>
          </a:p>
        </p:txBody>
      </p:sp>
      <p:sp>
        <p:nvSpPr>
          <p:cNvPr id="27" name="Text Placeholder 14"/>
          <p:cNvSpPr txBox="1">
            <a:spLocks/>
          </p:cNvSpPr>
          <p:nvPr/>
        </p:nvSpPr>
        <p:spPr>
          <a:xfrm>
            <a:off x="10363204" y="857250"/>
            <a:ext cx="914401" cy="273844"/>
          </a:xfrm>
          <a:prstGeom prst="rect">
            <a:avLst/>
          </a:prstGeom>
          <a:solidFill>
            <a:srgbClr val="FCAF17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252,175,23</a:t>
            </a:r>
          </a:p>
        </p:txBody>
      </p:sp>
      <p:sp>
        <p:nvSpPr>
          <p:cNvPr id="28" name="Text Placeholder 14"/>
          <p:cNvSpPr txBox="1">
            <a:spLocks/>
          </p:cNvSpPr>
          <p:nvPr/>
        </p:nvSpPr>
        <p:spPr>
          <a:xfrm>
            <a:off x="10363204" y="1248966"/>
            <a:ext cx="914401" cy="273844"/>
          </a:xfrm>
          <a:prstGeom prst="rect">
            <a:avLst/>
          </a:prstGeom>
          <a:solidFill>
            <a:srgbClr val="F7941D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247,148,29</a:t>
            </a:r>
          </a:p>
        </p:txBody>
      </p:sp>
      <p:sp>
        <p:nvSpPr>
          <p:cNvPr id="29" name="Text Placeholder 14"/>
          <p:cNvSpPr txBox="1">
            <a:spLocks/>
          </p:cNvSpPr>
          <p:nvPr/>
        </p:nvSpPr>
        <p:spPr>
          <a:xfrm>
            <a:off x="10363204" y="1639491"/>
            <a:ext cx="914401" cy="275034"/>
          </a:xfrm>
          <a:prstGeom prst="rect">
            <a:avLst/>
          </a:prstGeom>
          <a:solidFill>
            <a:srgbClr val="F37021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243,112,33</a:t>
            </a:r>
          </a:p>
        </p:txBody>
      </p:sp>
      <p:sp>
        <p:nvSpPr>
          <p:cNvPr id="30" name="Text Placeholder 14"/>
          <p:cNvSpPr txBox="1">
            <a:spLocks/>
          </p:cNvSpPr>
          <p:nvPr/>
        </p:nvSpPr>
        <p:spPr>
          <a:xfrm>
            <a:off x="10363204" y="2057400"/>
            <a:ext cx="914401" cy="273844"/>
          </a:xfrm>
          <a:prstGeom prst="rect">
            <a:avLst/>
          </a:prstGeom>
          <a:solidFill>
            <a:srgbClr val="ED1C24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237,28,36</a:t>
            </a:r>
          </a:p>
        </p:txBody>
      </p:sp>
      <p:sp>
        <p:nvSpPr>
          <p:cNvPr id="31" name="Text Placeholder 14"/>
          <p:cNvSpPr txBox="1">
            <a:spLocks/>
          </p:cNvSpPr>
          <p:nvPr/>
        </p:nvSpPr>
        <p:spPr>
          <a:xfrm>
            <a:off x="10363204" y="2449116"/>
            <a:ext cx="914401" cy="273844"/>
          </a:xfrm>
          <a:prstGeom prst="rect">
            <a:avLst/>
          </a:prstGeom>
          <a:solidFill>
            <a:srgbClr val="C41028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196,16,40</a:t>
            </a:r>
          </a:p>
        </p:txBody>
      </p:sp>
      <p:sp>
        <p:nvSpPr>
          <p:cNvPr id="32" name="Text Placeholder 14"/>
          <p:cNvSpPr txBox="1">
            <a:spLocks/>
          </p:cNvSpPr>
          <p:nvPr/>
        </p:nvSpPr>
        <p:spPr>
          <a:xfrm>
            <a:off x="10363204" y="2839642"/>
            <a:ext cx="914401" cy="275034"/>
          </a:xfrm>
          <a:prstGeom prst="rect">
            <a:avLst/>
          </a:prstGeom>
          <a:solidFill>
            <a:srgbClr val="A7004C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167,0,76</a:t>
            </a:r>
          </a:p>
        </p:txBody>
      </p:sp>
      <p:sp>
        <p:nvSpPr>
          <p:cNvPr id="33" name="Text Placeholder 14"/>
          <p:cNvSpPr txBox="1">
            <a:spLocks/>
          </p:cNvSpPr>
          <p:nvPr/>
        </p:nvSpPr>
        <p:spPr>
          <a:xfrm>
            <a:off x="10363204" y="3257550"/>
            <a:ext cx="914401" cy="273844"/>
          </a:xfrm>
          <a:prstGeom prst="rect">
            <a:avLst/>
          </a:prstGeom>
          <a:solidFill>
            <a:srgbClr val="7C1746"/>
          </a:solidFill>
        </p:spPr>
        <p:txBody>
          <a:bodyPr lIns="34265" tIns="34265" rIns="34265" bIns="34265" anchor="ctr"/>
          <a:lstStyle>
            <a:defPPr>
              <a:defRPr lang="en-US"/>
            </a:defPPr>
            <a:lvl1pPr marL="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2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54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78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03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27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5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05" algn="l" defTabSz="9138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522F7B"/>
              </a:buClr>
              <a:buFont typeface="Wingdings" pitchFamily="2" charset="2"/>
              <a:buNone/>
              <a:defRPr/>
            </a:pPr>
            <a:r>
              <a:rPr lang="en-US" sz="800" b="1">
                <a:solidFill>
                  <a:schemeClr val="bg1"/>
                </a:solidFill>
              </a:rPr>
              <a:t>124,23,70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296403" y="514350"/>
            <a:ext cx="1877804" cy="346239"/>
          </a:xfrm>
          <a:prstGeom prst="rect">
            <a:avLst/>
          </a:prstGeom>
          <a:noFill/>
        </p:spPr>
        <p:txBody>
          <a:bodyPr wrap="none" lIns="68571" tIns="34285" rIns="68571" bIns="3428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>
                <a:latin typeface="+mn-lt"/>
                <a:cs typeface="+mn-cs"/>
              </a:rPr>
              <a:t>Secondary Colours</a:t>
            </a:r>
            <a:endParaRPr lang="en-IN" sz="1800">
              <a:latin typeface="+mn-lt"/>
              <a:cs typeface="+mn-cs"/>
            </a:endParaRPr>
          </a:p>
        </p:txBody>
      </p:sp>
      <p:pic>
        <p:nvPicPr>
          <p:cNvPr id="3098" name="Picture 2" descr="C:\Users\Administrator\Desktop\PPt\ppt\Header2.gif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1"/>
            <a:ext cx="914400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Straight Connector 35"/>
          <p:cNvCxnSpPr/>
          <p:nvPr/>
        </p:nvCxnSpPr>
        <p:spPr>
          <a:xfrm>
            <a:off x="0" y="5142310"/>
            <a:ext cx="9144000" cy="1190"/>
          </a:xfrm>
          <a:prstGeom prst="line">
            <a:avLst/>
          </a:prstGeom>
          <a:ln w="76200">
            <a:solidFill>
              <a:srgbClr val="ED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00" name="Picture 3" descr="C:\Users\Administrator\Desktop\PPt\ppt\Murugappa.gif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077201" y="4686301"/>
            <a:ext cx="990600" cy="391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1" name="Picture 4" descr="C:\Users\Administrator\Desktop\PPt\ppt\Chola.gif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00016" y="4716069"/>
            <a:ext cx="1271587" cy="355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2A04B00-8600-3A75-2429-2A6C81FB497B}"/>
              </a:ext>
            </a:extLst>
          </p:cNvPr>
          <p:cNvSpPr txBox="1"/>
          <p:nvPr userDrawn="1"/>
        </p:nvSpPr>
        <p:spPr>
          <a:xfrm>
            <a:off x="4309089" y="4915139"/>
            <a:ext cx="3734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D48E7F3-90C5-4A21-8EF7-9C256C911BC0}" type="slidenum">
              <a:rPr lang="en-IN" sz="10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IN" sz="10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03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1" r:id="rId19"/>
    <p:sldLayoutId id="2147483682" r:id="rId20"/>
    <p:sldLayoutId id="2147483683" r:id="rId21"/>
    <p:sldLayoutId id="2147483660" r:id="rId22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42892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685783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028675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371566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257168" indent="-25716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14350"/>
            <a:ext cx="8229600" cy="663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Verdana Font – 32 bol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82296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alibri Font 28</a:t>
            </a:r>
          </a:p>
          <a:p>
            <a:pPr lvl="1"/>
            <a:r>
              <a:rPr lang="en-US"/>
              <a:t>Calibri Font 24</a:t>
            </a:r>
          </a:p>
          <a:p>
            <a:pPr lvl="2"/>
            <a:r>
              <a:rPr lang="en-US"/>
              <a:t>Calibri Font  16 </a:t>
            </a:r>
          </a:p>
          <a:p>
            <a:pPr lvl="3"/>
            <a:r>
              <a:rPr lang="en-US"/>
              <a:t>Calibri Font 24</a:t>
            </a:r>
          </a:p>
          <a:p>
            <a:pPr lvl="4"/>
            <a:r>
              <a:rPr lang="en-US"/>
              <a:t>Calibri Font 16</a:t>
            </a:r>
          </a:p>
        </p:txBody>
      </p:sp>
      <p:pic>
        <p:nvPicPr>
          <p:cNvPr id="1026" name="Picture 2" descr="C:\Users\Administrator\Desktop\PPt\ppt\Header2.gi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0"/>
            <a:ext cx="9144000" cy="352044"/>
          </a:xfrm>
          <a:prstGeom prst="rect">
            <a:avLst/>
          </a:prstGeom>
          <a:noFill/>
        </p:spPr>
      </p:pic>
      <p:cxnSp>
        <p:nvCxnSpPr>
          <p:cNvPr id="36" name="Straight Connector 35"/>
          <p:cNvCxnSpPr/>
          <p:nvPr/>
        </p:nvCxnSpPr>
        <p:spPr>
          <a:xfrm>
            <a:off x="0" y="5142309"/>
            <a:ext cx="9144000" cy="1191"/>
          </a:xfrm>
          <a:prstGeom prst="line">
            <a:avLst/>
          </a:prstGeom>
          <a:ln w="76200">
            <a:solidFill>
              <a:srgbClr val="ED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 descr="C:\Users\Administrator\Desktop\PPt\ppt\Murugappa.gif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77200" y="4686300"/>
            <a:ext cx="990600" cy="391164"/>
          </a:xfrm>
          <a:prstGeom prst="rect">
            <a:avLst/>
          </a:prstGeom>
          <a:noFill/>
        </p:spPr>
      </p:pic>
      <p:pic>
        <p:nvPicPr>
          <p:cNvPr id="1028" name="Picture 4" descr="C:\Users\Administrator\Desktop\PPt\ppt\Chola.gif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00766" y="4716389"/>
            <a:ext cx="1270835" cy="3559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85220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hf hdr="0" dt="0"/>
  <p:txStyles>
    <p:titleStyle>
      <a:lvl1pPr algn="ctr" defTabSz="6858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0" y="-5419"/>
            <a:ext cx="89433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Frappe HRMS – Recruitment Flow</a:t>
            </a:r>
          </a:p>
        </p:txBody>
      </p:sp>
      <p:pic>
        <p:nvPicPr>
          <p:cNvPr id="10" name="Picture 9" descr="A blue button with a white house on it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558F4AA8-1D25-BEBF-EEFA-B388148B1C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064" y="-19282"/>
            <a:ext cx="360632" cy="360632"/>
          </a:xfrm>
          <a:prstGeom prst="rect">
            <a:avLst/>
          </a:prstGeom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9ACDD5B-084F-4CAA-A370-562BE953A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1116040"/>
              </p:ext>
            </p:extLst>
          </p:nvPr>
        </p:nvGraphicFramePr>
        <p:xfrm>
          <a:off x="635479" y="539750"/>
          <a:ext cx="663659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884732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0" y="-5419"/>
            <a:ext cx="89433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Frappe HRMS – Employee Life Cycle</a:t>
            </a:r>
          </a:p>
        </p:txBody>
      </p:sp>
      <p:pic>
        <p:nvPicPr>
          <p:cNvPr id="10" name="Picture 9" descr="A blue button with a white house on it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558F4AA8-1D25-BEBF-EEFA-B388148B1C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064" y="-19282"/>
            <a:ext cx="360632" cy="360632"/>
          </a:xfrm>
          <a:prstGeom prst="rect">
            <a:avLst/>
          </a:prstGeom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9ACDD5B-084F-4CAA-A370-562BE953A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4189144"/>
              </p:ext>
            </p:extLst>
          </p:nvPr>
        </p:nvGraphicFramePr>
        <p:xfrm>
          <a:off x="635479" y="539750"/>
          <a:ext cx="663659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541219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0" y="-5419"/>
            <a:ext cx="89433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Frappe HRMS – Shift &amp; Attendance and Leave Management</a:t>
            </a:r>
          </a:p>
        </p:txBody>
      </p:sp>
      <p:pic>
        <p:nvPicPr>
          <p:cNvPr id="10" name="Picture 9" descr="A blue button with a white house on it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558F4AA8-1D25-BEBF-EEFA-B388148B1C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064" y="-19282"/>
            <a:ext cx="360632" cy="360632"/>
          </a:xfrm>
          <a:prstGeom prst="rect">
            <a:avLst/>
          </a:prstGeom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9ACDD5B-084F-4CAA-A370-562BE953A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123281"/>
              </p:ext>
            </p:extLst>
          </p:nvPr>
        </p:nvGraphicFramePr>
        <p:xfrm>
          <a:off x="781782" y="557784"/>
          <a:ext cx="7036338" cy="4045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173983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0" y="-5419"/>
            <a:ext cx="89433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Frappe HRMS – Asset and Associated Expense Management</a:t>
            </a:r>
          </a:p>
        </p:txBody>
      </p:sp>
      <p:pic>
        <p:nvPicPr>
          <p:cNvPr id="10" name="Picture 9" descr="A blue button with a white house on it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558F4AA8-1D25-BEBF-EEFA-B388148B1C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064" y="-19282"/>
            <a:ext cx="360632" cy="360632"/>
          </a:xfrm>
          <a:prstGeom prst="rect">
            <a:avLst/>
          </a:prstGeom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9ACDD5B-084F-4CAA-A370-562BE953A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0300740"/>
              </p:ext>
            </p:extLst>
          </p:nvPr>
        </p:nvGraphicFramePr>
        <p:xfrm>
          <a:off x="501227" y="539750"/>
          <a:ext cx="690202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164123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0" y="-5419"/>
            <a:ext cx="89433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Frappe HRMS – Payroll Process</a:t>
            </a:r>
          </a:p>
        </p:txBody>
      </p:sp>
      <p:pic>
        <p:nvPicPr>
          <p:cNvPr id="10" name="Picture 9" descr="A blue button with a white house on it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558F4AA8-1D25-BEBF-EEFA-B388148B1C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064" y="-19282"/>
            <a:ext cx="360632" cy="360632"/>
          </a:xfrm>
          <a:prstGeom prst="rect">
            <a:avLst/>
          </a:prstGeom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9ACDD5B-084F-4CAA-A370-562BE953A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5380086"/>
              </p:ext>
            </p:extLst>
          </p:nvPr>
        </p:nvGraphicFramePr>
        <p:xfrm>
          <a:off x="635478" y="486561"/>
          <a:ext cx="7082393" cy="4117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014290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Chola Colours">
      <a:dk1>
        <a:sysClr val="windowText" lastClr="000000"/>
      </a:dk1>
      <a:lt1>
        <a:sysClr val="window" lastClr="FFFFFF"/>
      </a:lt1>
      <a:dk2>
        <a:srgbClr val="003F88"/>
      </a:dk2>
      <a:lt2>
        <a:srgbClr val="B2B2B2"/>
      </a:lt2>
      <a:accent1>
        <a:srgbClr val="003F88"/>
      </a:accent1>
      <a:accent2>
        <a:srgbClr val="ED1C24"/>
      </a:accent2>
      <a:accent3>
        <a:srgbClr val="273E71"/>
      </a:accent3>
      <a:accent4>
        <a:srgbClr val="C41028"/>
      </a:accent4>
      <a:accent5>
        <a:srgbClr val="005D99"/>
      </a:accent5>
      <a:accent6>
        <a:srgbClr val="F37021"/>
      </a:accent6>
      <a:hlink>
        <a:srgbClr val="0081B8"/>
      </a:hlink>
      <a:folHlink>
        <a:srgbClr val="7C1746"/>
      </a:folHlink>
    </a:clrScheme>
    <a:fontScheme name="Chola Fonts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1A29BCFC-E033-465B-AB44-1121C0BCD5FB}" vid="{456B8D11-7F17-4859-B23D-D60AEDBBCF09}"/>
    </a:ext>
  </a:extLst>
</a:theme>
</file>

<file path=ppt/theme/theme2.xml><?xml version="1.0" encoding="utf-8"?>
<a:theme xmlns:a="http://schemas.openxmlformats.org/drawingml/2006/main" name="Home Loans">
  <a:themeElements>
    <a:clrScheme name="Chola Colours">
      <a:dk1>
        <a:sysClr val="windowText" lastClr="000000"/>
      </a:dk1>
      <a:lt1>
        <a:sysClr val="window" lastClr="FFFFFF"/>
      </a:lt1>
      <a:dk2>
        <a:srgbClr val="003F88"/>
      </a:dk2>
      <a:lt2>
        <a:srgbClr val="B2B2B2"/>
      </a:lt2>
      <a:accent1>
        <a:srgbClr val="003F88"/>
      </a:accent1>
      <a:accent2>
        <a:srgbClr val="ED1C24"/>
      </a:accent2>
      <a:accent3>
        <a:srgbClr val="273E71"/>
      </a:accent3>
      <a:accent4>
        <a:srgbClr val="C41028"/>
      </a:accent4>
      <a:accent5>
        <a:srgbClr val="005D99"/>
      </a:accent5>
      <a:accent6>
        <a:srgbClr val="F37021"/>
      </a:accent6>
      <a:hlink>
        <a:srgbClr val="0081B8"/>
      </a:hlink>
      <a:folHlink>
        <a:srgbClr val="7C1746"/>
      </a:folHlink>
    </a:clrScheme>
    <a:fontScheme name="Chola Fonts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ome Loans" id="{99D16530-4A27-47E1-9B0D-1411B4615229}" vid="{B326263C-0113-4A32-B760-03F797C6AC1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9</TotalTime>
  <Words>553</Words>
  <Application>Microsoft Macintosh PowerPoint</Application>
  <PresentationFormat>On-screen Show (16:9)</PresentationFormat>
  <Paragraphs>138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Verdana</vt:lpstr>
      <vt:lpstr>Wingdings</vt:lpstr>
      <vt:lpstr>Theme1</vt:lpstr>
      <vt:lpstr>Home Loan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orance D-AGM-IT-Chennai-HO-IT-chola</dc:creator>
  <cp:lastModifiedBy>Aravind Arunkumar</cp:lastModifiedBy>
  <cp:revision>49</cp:revision>
  <cp:lastPrinted>2022-12-13T06:43:00Z</cp:lastPrinted>
  <dcterms:created xsi:type="dcterms:W3CDTF">2022-11-11T06:00:00Z</dcterms:created>
  <dcterms:modified xsi:type="dcterms:W3CDTF">2025-07-08T09:3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760588D55484E3998F4D5AF92C3DD58_13</vt:lpwstr>
  </property>
  <property fmtid="{D5CDD505-2E9C-101B-9397-08002B2CF9AE}" pid="3" name="KSOProductBuildVer">
    <vt:lpwstr>1033-10.2.0.7646</vt:lpwstr>
  </property>
</Properties>
</file>